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tags/tag54.xml" ContentType="application/vnd.openxmlformats-officedocument.presentationml.tags+xml"/>
  <Override PartName="/ppt/notesSlides/notesSlide2.xml" ContentType="application/vnd.openxmlformats-officedocument.presentationml.notesSlide+xml"/>
  <Override PartName="/ppt/tags/tag55.xml" ContentType="application/vnd.openxmlformats-officedocument.presentationml.tags+xml"/>
  <Override PartName="/ppt/notesSlides/notesSlide3.xml" ContentType="application/vnd.openxmlformats-officedocument.presentationml.notesSlide+xml"/>
  <Override PartName="/ppt/tags/tag56.xml" ContentType="application/vnd.openxmlformats-officedocument.presentationml.tags+xml"/>
  <Override PartName="/ppt/notesSlides/notesSlide4.xml" ContentType="application/vnd.openxmlformats-officedocument.presentationml.notesSlide+xml"/>
  <Override PartName="/ppt/tags/tag57.xml" ContentType="application/vnd.openxmlformats-officedocument.presentationml.tags+xml"/>
  <Override PartName="/ppt/notesSlides/notesSlide5.xml" ContentType="application/vnd.openxmlformats-officedocument.presentationml.notesSlide+xml"/>
  <Override PartName="/ppt/tags/tag58.xml" ContentType="application/vnd.openxmlformats-officedocument.presentationml.tags+xml"/>
  <Override PartName="/ppt/notesSlides/notesSlide6.xml" ContentType="application/vnd.openxmlformats-officedocument.presentationml.notesSlide+xml"/>
  <Override PartName="/ppt/tags/tag59.xml" ContentType="application/vnd.openxmlformats-officedocument.presentationml.tags+xml"/>
  <Override PartName="/ppt/notesSlides/notesSlide7.xml" ContentType="application/vnd.openxmlformats-officedocument.presentationml.notesSlide+xml"/>
  <Override PartName="/ppt/tags/tag60.xml" ContentType="application/vnd.openxmlformats-officedocument.presentationml.tags+xml"/>
  <Override PartName="/ppt/notesSlides/notesSlide8.xml" ContentType="application/vnd.openxmlformats-officedocument.presentationml.notesSlide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  <Override PartName="/ppt/tags/tag6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1"/>
    <p:sldMasterId id="2147483802" r:id="rId2"/>
    <p:sldMasterId id="2147483814" r:id="rId3"/>
  </p:sldMasterIdLst>
  <p:notesMasterIdLst>
    <p:notesMasterId r:id="rId15"/>
  </p:notesMasterIdLst>
  <p:handoutMasterIdLst>
    <p:handoutMasterId r:id="rId16"/>
  </p:handoutMasterIdLst>
  <p:sldIdLst>
    <p:sldId id="297" r:id="rId4"/>
    <p:sldId id="302" r:id="rId5"/>
    <p:sldId id="303" r:id="rId6"/>
    <p:sldId id="269" r:id="rId7"/>
    <p:sldId id="270" r:id="rId8"/>
    <p:sldId id="301" r:id="rId9"/>
    <p:sldId id="278" r:id="rId10"/>
    <p:sldId id="273" r:id="rId11"/>
    <p:sldId id="296" r:id="rId12"/>
    <p:sldId id="305" r:id="rId13"/>
    <p:sldId id="307" r:id="rId14"/>
  </p:sldIdLst>
  <p:sldSz cx="26879550" cy="1511935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762">
          <p15:clr>
            <a:srgbClr val="A4A3A4"/>
          </p15:clr>
        </p15:guide>
        <p15:guide id="2" pos="84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417"/>
    <a:srgbClr val="2C388E"/>
    <a:srgbClr val="6D67A5"/>
    <a:srgbClr val="D3916D"/>
    <a:srgbClr val="D99705"/>
    <a:srgbClr val="623F2D"/>
    <a:srgbClr val="E9A97E"/>
    <a:srgbClr val="E6A37B"/>
    <a:srgbClr val="62402F"/>
    <a:srgbClr val="F6CC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42" autoAdjust="0"/>
    <p:restoredTop sz="96201" autoAdjust="0"/>
  </p:normalViewPr>
  <p:slideViewPr>
    <p:cSldViewPr snapToGrid="0" snapToObjects="1" showGuides="1">
      <p:cViewPr varScale="1">
        <p:scale>
          <a:sx n="53" d="100"/>
          <a:sy n="53" d="100"/>
        </p:scale>
        <p:origin x="576" y="126"/>
      </p:cViewPr>
      <p:guideLst>
        <p:guide orient="horz" pos="4762"/>
        <p:guide pos="84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0" d="100"/>
          <a:sy n="60" d="100"/>
        </p:scale>
        <p:origin x="3187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9/2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pl-PL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850AB23-24A6-494C-BA00-B87242B78CB4}" type="datetimeFigureOut">
              <a:rPr lang="pl-PL" smtClean="0"/>
              <a:pPr/>
              <a:t>29.09.2023</a:t>
            </a:fld>
            <a:endParaRPr lang="pl-PL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pl-P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20CA530D-631F-4981-98F0-E6C07C67E1A3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pl-PL" smtClean="0"/>
              <a:pPr/>
              <a:t>2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83624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pl-PL" smtClean="0"/>
              <a:pPr/>
              <a:t>3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005860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pl-PL" smtClean="0"/>
              <a:pPr/>
              <a:t>4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53015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pl-PL" smtClean="0"/>
              <a:pPr/>
              <a:t>5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403822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pl-PL" smtClean="0"/>
              <a:pPr/>
              <a:t>6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425311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pl-PL" smtClean="0"/>
              <a:pPr/>
              <a:t>7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94575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pl-PL" smtClean="0"/>
              <a:pPr/>
              <a:t>8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05367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pl-PL" smtClean="0"/>
              <a:pPr/>
              <a:t>9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078170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pl-PL" smtClean="0"/>
              <a:pPr/>
              <a:t>10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09670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B481065E-9C49-4BBD-9F23-786DF03B3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75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B481065E-9C49-4BBD-9F23-786DF03B3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13439776" y="0"/>
            <a:ext cx="13439774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1" y="1"/>
            <a:ext cx="13439776" cy="755967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l-PL" sz="1579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1" y="7559675"/>
            <a:ext cx="13439776" cy="251989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l-PL" sz="1579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6" y="944961"/>
            <a:ext cx="12067799" cy="4531607"/>
          </a:xfrm>
          <a:prstGeom prst="rect">
            <a:avLst/>
          </a:prstGeom>
        </p:spPr>
        <p:txBody>
          <a:bodyPr vert="horz" anchor="b" anchorCtr="0">
            <a:normAutofit/>
          </a:bodyPr>
          <a:lstStyle>
            <a:lvl1pPr algn="l" rtl="0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6486" y="8298849"/>
            <a:ext cx="12067799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500E57C-CC48-F54D-B3F3-3A114B2488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408173" y="11752776"/>
            <a:ext cx="3608580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1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B71997F-258F-4660-83CB-90BEFE7272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1609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B71997F-258F-4660-83CB-90BEFE727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20834299" y="0"/>
            <a:ext cx="6045252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9A901F27-1E18-0046-A577-0550B326C420}"/>
              </a:ext>
            </a:extLst>
          </p:cNvPr>
          <p:cNvGrpSpPr/>
          <p:nvPr userDrawn="1"/>
        </p:nvGrpSpPr>
        <p:grpSpPr>
          <a:xfrm>
            <a:off x="1" y="0"/>
            <a:ext cx="26879550" cy="15119350"/>
            <a:chOff x="0" y="0"/>
            <a:chExt cx="12192000" cy="6858000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xmlns="" id="{2B6306E4-EA3A-6A40-90F3-BFF139CD1856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pl-PL" sz="1579" dirty="0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xmlns="" id="{D67CBCF8-572D-4D45-93D3-B122FE4A2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76483" y="6359290"/>
            <a:ext cx="16355228" cy="696409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6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76486" y="7484079"/>
            <a:ext cx="12067799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86173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6467E9D-9FFD-402E-AAF6-C043C8CFF6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972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76467E9D-9FFD-402E-AAF6-C043C8CFF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20834296" y="0"/>
            <a:ext cx="6045254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05809F74-389C-BF4E-9840-CD3E0121C200}"/>
              </a:ext>
            </a:extLst>
          </p:cNvPr>
          <p:cNvGrpSpPr/>
          <p:nvPr userDrawn="1"/>
        </p:nvGrpSpPr>
        <p:grpSpPr>
          <a:xfrm>
            <a:off x="1" y="0"/>
            <a:ext cx="26879550" cy="15119350"/>
            <a:chOff x="0" y="0"/>
            <a:chExt cx="12192000" cy="6858000"/>
          </a:xfrm>
        </p:grpSpPr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xmlns="" id="{02FC2F29-20BB-FC46-8933-6BF25A395800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pl-PL" sz="1579" dirty="0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A1A41927-8102-0140-8A6E-BE11E9B2A3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76483" y="6367368"/>
            <a:ext cx="16355228" cy="688330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76486" y="7484079"/>
            <a:ext cx="12067799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742372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E81FD650-875A-4D03-8D10-C329B675D3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851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E81FD650-875A-4D03-8D10-C329B675D3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4">
            <a:extLst>
              <a:ext uri="{FF2B5EF4-FFF2-40B4-BE49-F238E27FC236}">
                <a16:creationId xmlns:a16="http://schemas.microsoft.com/office/drawing/2014/main" xmlns="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11250872" y="-1"/>
            <a:ext cx="15628680" cy="15119352"/>
          </a:xfrm>
          <a:prstGeom prst="rect">
            <a:avLst/>
          </a:prstGeom>
          <a:solidFill>
            <a:srgbClr val="DEDEDE"/>
          </a:solidFill>
        </p:spPr>
        <p:txBody>
          <a:bodyPr rIns="1371600" anchor="ctr" anchorCtr="0"/>
          <a:lstStyle>
            <a:lvl1pPr algn="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D5065365-ACD4-4445-B744-F720FB8FF28C}"/>
              </a:ext>
            </a:extLst>
          </p:cNvPr>
          <p:cNvGrpSpPr/>
          <p:nvPr userDrawn="1"/>
        </p:nvGrpSpPr>
        <p:grpSpPr>
          <a:xfrm>
            <a:off x="0" y="1"/>
            <a:ext cx="19652809" cy="15119352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pl-PL" sz="1579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76486" y="6412570"/>
            <a:ext cx="11593658" cy="1147109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76489" y="8298849"/>
            <a:ext cx="11593658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95867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A3C5810-871A-4BCA-986C-34ADAB573E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3166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8A3C5810-871A-4BCA-986C-34ADAB573E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4">
            <a:extLst>
              <a:ext uri="{FF2B5EF4-FFF2-40B4-BE49-F238E27FC236}">
                <a16:creationId xmlns:a16="http://schemas.microsoft.com/office/drawing/2014/main" xmlns="" id="{19130D55-E01B-814B-B368-1A5B9D9224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11250870" y="1"/>
            <a:ext cx="15628680" cy="15119352"/>
          </a:xfrm>
          <a:prstGeom prst="rect">
            <a:avLst/>
          </a:prstGeom>
          <a:solidFill>
            <a:srgbClr val="DEDEDE"/>
          </a:solidFill>
        </p:spPr>
        <p:txBody>
          <a:bodyPr rIns="1371600" anchor="ctr" anchorCtr="0"/>
          <a:lstStyle>
            <a:lvl1pPr algn="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7BE733A-F034-2C46-AB70-A0813595ECD7}"/>
              </a:ext>
            </a:extLst>
          </p:cNvPr>
          <p:cNvGrpSpPr/>
          <p:nvPr userDrawn="1"/>
        </p:nvGrpSpPr>
        <p:grpSpPr>
          <a:xfrm>
            <a:off x="0" y="1"/>
            <a:ext cx="19652809" cy="15119352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pl-PL" sz="1579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D80AA576-2E0A-D146-9C52-8C67B6E45D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76486" y="6412570"/>
            <a:ext cx="11593658" cy="1147109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76489" y="8298849"/>
            <a:ext cx="11593658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43462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F48F4CEA-8827-46CC-A8F7-9845FE89C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600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F48F4CEA-8827-46CC-A8F7-9845FE89C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4">
            <a:extLst>
              <a:ext uri="{FF2B5EF4-FFF2-40B4-BE49-F238E27FC236}">
                <a16:creationId xmlns:a16="http://schemas.microsoft.com/office/drawing/2014/main" xmlns="" id="{2504B055-84E9-A34C-9FA5-3A4898E3B2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11250870" y="0"/>
            <a:ext cx="15628680" cy="15119350"/>
          </a:xfrm>
          <a:prstGeom prst="rect">
            <a:avLst/>
          </a:prstGeom>
          <a:solidFill>
            <a:srgbClr val="DEDEDE"/>
          </a:solidFill>
        </p:spPr>
        <p:txBody>
          <a:bodyPr rIns="1371600" anchor="ctr" anchorCtr="0"/>
          <a:lstStyle>
            <a:lvl1pPr algn="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41675EB2-67BA-8341-AFDE-B097C16A2531}"/>
              </a:ext>
            </a:extLst>
          </p:cNvPr>
          <p:cNvGrpSpPr/>
          <p:nvPr userDrawn="1"/>
        </p:nvGrpSpPr>
        <p:grpSpPr>
          <a:xfrm>
            <a:off x="0" y="1"/>
            <a:ext cx="19652809" cy="15119352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pl-PL" sz="1579" dirty="0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xmlns="" id="{420A64D3-5A58-A74D-827A-3B01DDFF5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76486" y="6412569"/>
            <a:ext cx="11593658" cy="1147109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76489" y="8298849"/>
            <a:ext cx="11593658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5871344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0C84A010-13AF-4B4D-89AF-38CA1E3EE4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825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0C84A010-13AF-4B4D-89AF-38CA1E3EE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4">
            <a:extLst>
              <a:ext uri="{FF2B5EF4-FFF2-40B4-BE49-F238E27FC236}">
                <a16:creationId xmlns:a16="http://schemas.microsoft.com/office/drawing/2014/main" xmlns="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11250872" y="0"/>
            <a:ext cx="15628680" cy="15119350"/>
          </a:xfrm>
          <a:prstGeom prst="rect">
            <a:avLst/>
          </a:prstGeom>
          <a:solidFill>
            <a:srgbClr val="DEDEDE"/>
          </a:solidFill>
        </p:spPr>
        <p:txBody>
          <a:bodyPr rIns="1371600" anchor="ctr" anchorCtr="0"/>
          <a:lstStyle>
            <a:lvl1pPr algn="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19670607-F478-BE4E-8608-89949C7D5279}"/>
              </a:ext>
            </a:extLst>
          </p:cNvPr>
          <p:cNvGrpSpPr/>
          <p:nvPr userDrawn="1"/>
        </p:nvGrpSpPr>
        <p:grpSpPr>
          <a:xfrm>
            <a:off x="0" y="1"/>
            <a:ext cx="19652809" cy="15119352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pl-PL" sz="1579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3C790A76-DC9A-CA48-8F96-B38E81026F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76486" y="6412569"/>
            <a:ext cx="11593658" cy="1147109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76489" y="8298849"/>
            <a:ext cx="11593658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395183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E72C629-4868-481E-8971-F7169342A7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687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E72C629-4868-481E-8971-F7169342A7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11759804" y="0"/>
            <a:ext cx="15119747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8" y="7054857"/>
            <a:ext cx="10307324" cy="504818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3859">
                <a:solidFill>
                  <a:schemeClr val="tx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6485" y="8721924"/>
            <a:ext cx="10307326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11759804" y="0"/>
            <a:ext cx="15119747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/>
            <a:endParaRPr lang="pl-PL" sz="1579" dirty="0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11759804" y="0"/>
            <a:ext cx="15119747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/>
            <a:endParaRPr lang="pl-PL" sz="1579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722A556-B0A2-E74A-B3E1-08C0F432C2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408173" y="11752776"/>
            <a:ext cx="3608580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5740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BB69734-D615-4B71-9B6B-A1640C5A0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68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BB69734-D615-4B71-9B6B-A1640C5A0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38228C97-977F-47D4-AB59-1712BF2F69D3}"/>
              </a:ext>
            </a:extLst>
          </p:cNvPr>
          <p:cNvSpPr/>
          <p:nvPr userDrawn="1"/>
        </p:nvSpPr>
        <p:spPr>
          <a:xfrm flipH="1">
            <a:off x="-1" y="0"/>
            <a:ext cx="11373681" cy="151193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pl-PL" sz="16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368115" y="14420533"/>
            <a:ext cx="930285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 rtl="0">
              <a:defRPr sz="2000"/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0B993EC-8DAB-4133-89C2-9BE40F473C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81150" y="1242814"/>
            <a:ext cx="8875713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rtl="0">
              <a:defRPr sz="4400" b="0">
                <a:latin typeface="+mj-lt"/>
              </a:defRPr>
            </a:lvl1pPr>
          </a:lstStyle>
          <a:p>
            <a:pPr lvl="0"/>
            <a:r>
              <a:rPr lang="pl-PL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441E0E70-4CB5-44E1-BA10-7BCCCF5D6D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81150" y="2464904"/>
            <a:ext cx="8875713" cy="11432071"/>
          </a:xfrm>
          <a:prstGeom prst="rect">
            <a:avLst/>
          </a:prstGeom>
        </p:spPr>
        <p:txBody>
          <a:bodyPr lIns="0" tIns="0" rIns="0" bIns="0"/>
          <a:lstStyle>
            <a:lvl1pPr marL="540000" indent="-540000">
              <a:spcAft>
                <a:spcPts val="2000"/>
              </a:spcAft>
              <a:buFont typeface="Arial" panose="020B0604020202020204" pitchFamily="34" charset="0"/>
              <a:buChar char="•"/>
              <a:defRPr sz="3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31588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B24311A-4560-4791-B95E-B47C579A64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294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8B24311A-4560-4791-B95E-B47C579A64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6485" y="952405"/>
            <a:ext cx="24926583" cy="524118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xmlns="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976484" y="2319931"/>
            <a:ext cx="24926585" cy="41626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105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9pPr>
          </a:lstStyle>
          <a:p>
            <a:r>
              <a:rPr lang="pl-PL"/>
              <a:t>[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942369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1769869"/>
              </p:ext>
            </p:extLst>
          </p:nvPr>
        </p:nvGraphicFramePr>
        <p:xfrm>
          <a:off x="3502" y="3503"/>
          <a:ext cx="3500" cy="3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02" y="3503"/>
                        <a:ext cx="3500" cy="3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6485" y="952405"/>
            <a:ext cx="24926583" cy="524118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xmlns="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976484" y="2319931"/>
            <a:ext cx="24926585" cy="41626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105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9pPr>
          </a:lstStyle>
          <a:p>
            <a:r>
              <a:rPr lang="pl-PL"/>
              <a:t>[Subtitle]</a:t>
            </a:r>
            <a:endParaRPr lang="pl-PL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976485" y="13793050"/>
            <a:ext cx="24926583" cy="193579"/>
          </a:xfrm>
          <a:prstGeom prst="rect">
            <a:avLst/>
          </a:prstGeom>
        </p:spPr>
        <p:txBody>
          <a:bodyPr anchor="b">
            <a:spAutoFit/>
          </a:bodyPr>
          <a:lstStyle>
            <a:lvl1pPr rtl="0">
              <a:spcAft>
                <a:spcPts val="0"/>
              </a:spcAft>
              <a:defRPr sz="658" b="0">
                <a:solidFill>
                  <a:schemeClr val="tx1"/>
                </a:solidFill>
              </a:defRPr>
            </a:lvl1pPr>
            <a:lvl2pPr>
              <a:defRPr sz="658">
                <a:solidFill>
                  <a:schemeClr val="tx1"/>
                </a:solidFill>
              </a:defRPr>
            </a:lvl2pPr>
            <a:lvl3pPr>
              <a:defRPr sz="658">
                <a:solidFill>
                  <a:schemeClr val="tx1"/>
                </a:solidFill>
              </a:defRPr>
            </a:lvl3pPr>
            <a:lvl4pPr>
              <a:defRPr sz="658">
                <a:solidFill>
                  <a:schemeClr val="tx1"/>
                </a:solidFill>
              </a:defRPr>
            </a:lvl4pPr>
            <a:lvl5pPr>
              <a:defRPr sz="658">
                <a:solidFill>
                  <a:schemeClr val="tx1"/>
                </a:solidFill>
              </a:defRPr>
            </a:lvl5pPr>
          </a:lstStyle>
          <a:p>
            <a:pPr lvl="0"/>
            <a:r>
              <a:rPr lang="pl-PL" dirty="0"/>
              <a:t>Source</a:t>
            </a:r>
            <a:r>
              <a:rPr lang="pl-PL"/>
              <a:t>: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486398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5826B85-14A7-4B7A-8D1E-CE6F90DE9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124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5826B85-14A7-4B7A-8D1E-CE6F90DE9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hidden">
          <a:xfrm>
            <a:off x="0" y="1"/>
            <a:ext cx="17849701" cy="7559675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l-PL" sz="1579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7559675"/>
            <a:ext cx="17849701" cy="251989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l-PL" sz="1579" dirty="0"/>
          </a:p>
        </p:txBody>
      </p:sp>
      <p:sp>
        <p:nvSpPr>
          <p:cNvPr id="11" name="Rectangle 10"/>
          <p:cNvSpPr/>
          <p:nvPr/>
        </p:nvSpPr>
        <p:spPr bwMode="hidden">
          <a:xfrm>
            <a:off x="17849702" y="1"/>
            <a:ext cx="9029849" cy="7559675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l-PL" sz="1579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3" y="5611397"/>
            <a:ext cx="16355228" cy="688330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6489" y="8298849"/>
            <a:ext cx="12067799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408173" y="11752776"/>
            <a:ext cx="3608580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2302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ulaRa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EFC202E-D024-4CFC-951F-ED672DF5B0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683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EFC202E-D024-4CFC-951F-ED672DF5B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4800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37D871FE-86E7-2759-11BD-F07152F67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804863"/>
            <a:ext cx="23183850" cy="2922587"/>
          </a:xfrm>
          <a:prstGeom prst="rect">
            <a:avLst/>
          </a:prstGeo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8077893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B6C110A7-C08A-4D6B-B8D2-B43EA074D3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8483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B6C110A7-C08A-4D6B-B8D2-B43EA074D3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3439775" y="0"/>
            <a:ext cx="13439776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6485" y="952405"/>
            <a:ext cx="11511306" cy="431785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5" name="Date Placeholder 3"/>
          <p:cNvSpPr txBox="1">
            <a:spLocks/>
          </p:cNvSpPr>
          <p:nvPr userDrawn="1"/>
        </p:nvSpPr>
        <p:spPr>
          <a:xfrm>
            <a:off x="18119200" y="14111394"/>
            <a:ext cx="6487140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l-PL" sz="658">
                <a:solidFill>
                  <a:schemeClr val="bg1"/>
                </a:solidFill>
              </a:rPr>
              <a:t>Proprietary and confidential. Do not distribute.</a:t>
            </a:r>
            <a:endParaRPr lang="pl-PL" sz="65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3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67" userDrawn="1">
          <p15:clr>
            <a:srgbClr val="FBAE40"/>
          </p15:clr>
        </p15:guide>
        <p15:guide id="2" pos="7866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a la Digi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62759"/>
              </p:ext>
            </p:extLst>
          </p:nvPr>
        </p:nvGraphicFramePr>
        <p:xfrm>
          <a:off x="3502" y="3503"/>
          <a:ext cx="3500" cy="3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02" y="3503"/>
                        <a:ext cx="3500" cy="3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9333282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309663" y="952404"/>
            <a:ext cx="15593406" cy="431785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976486" y="14111390"/>
            <a:ext cx="671988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 rtl="0"/>
            <a:r>
              <a:rPr lang="pl-PL" sz="658" b="1">
                <a:solidFill>
                  <a:schemeClr val="bg1"/>
                </a:solidFill>
              </a:rPr>
              <a:t>PwC</a:t>
            </a:r>
            <a:endParaRPr lang="pl-PL" sz="658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170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91" userDrawn="1">
          <p15:clr>
            <a:srgbClr val="FBAE40"/>
          </p15:clr>
        </p15:guide>
        <p15:guide id="2" pos="589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a la Digital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4260406"/>
              </p:ext>
            </p:extLst>
          </p:nvPr>
        </p:nvGraphicFramePr>
        <p:xfrm>
          <a:off x="3502" y="3503"/>
          <a:ext cx="3500" cy="3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02" y="3503"/>
                        <a:ext cx="3500" cy="3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9333282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309663" y="952405"/>
            <a:ext cx="15593406" cy="431785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10309663" y="2319931"/>
            <a:ext cx="15593406" cy="41626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105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9pPr>
          </a:lstStyle>
          <a:p>
            <a:r>
              <a:rPr lang="pl-PL"/>
              <a:t>[Subtitle]</a:t>
            </a:r>
            <a:endParaRPr lang="pl-PL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976486" y="14111390"/>
            <a:ext cx="671988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 rtl="0"/>
            <a:r>
              <a:rPr lang="pl-PL" sz="658" b="1">
                <a:solidFill>
                  <a:schemeClr val="bg1"/>
                </a:solidFill>
              </a:rPr>
              <a:t>PwC</a:t>
            </a:r>
            <a:endParaRPr lang="pl-PL" sz="658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183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91" userDrawn="1">
          <p15:clr>
            <a:srgbClr val="FBAE40"/>
          </p15:clr>
        </p15:guide>
        <p15:guide id="2" pos="589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6D4A8E2-EE97-4683-8E6A-C690CE8EED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091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16D4A8E2-EE97-4683-8E6A-C690CE8EE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hidden">
          <a:xfrm>
            <a:off x="2" y="3671343"/>
            <a:ext cx="8756853" cy="993607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l-PL" sz="1579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76489" y="4254769"/>
            <a:ext cx="7339374" cy="3830235"/>
          </a:xfrm>
          <a:prstGeom prst="rect">
            <a:avLst/>
          </a:prstGeom>
        </p:spPr>
        <p:txBody>
          <a:bodyPr tIns="0" bIns="0" anchor="t" anchorCtr="0"/>
          <a:lstStyle>
            <a:lvl1pPr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1138" b="1" spc="-88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00%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6489" y="8668427"/>
            <a:ext cx="7339374" cy="4545470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3" b="0">
                <a:solidFill>
                  <a:schemeClr val="bg1"/>
                </a:solidFill>
              </a:defRPr>
            </a:lvl1pPr>
            <a:lvl2pPr marL="160386" indent="-16038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20772" indent="-16038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481157" indent="-16038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641543" indent="-16038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801929" indent="-160386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62315" indent="-160386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122700" indent="-160386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283086" indent="-160386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9540842" y="3671344"/>
            <a:ext cx="16362227" cy="9936070"/>
          </a:xfrm>
          <a:prstGeom prst="rect">
            <a:avLst/>
          </a:prstGeom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chart</a:t>
            </a:r>
            <a:endParaRPr lang="pl-PL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76485" y="952404"/>
            <a:ext cx="24926583" cy="431785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444185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582ACCC-BB87-42E8-96FE-C8C19215C0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586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582ACCC-BB87-42E8-96FE-C8C19215C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76485" y="7158853"/>
            <a:ext cx="7780368" cy="6460467"/>
          </a:xfrm>
          <a:prstGeom prst="rect">
            <a:avLst/>
          </a:prstGeom>
        </p:spPr>
        <p:txBody>
          <a:bodyPr/>
          <a:lstStyle>
            <a:lvl1pPr rtl="0">
              <a:spcBef>
                <a:spcPts val="0"/>
              </a:spcBef>
              <a:spcAft>
                <a:spcPts val="526"/>
              </a:spcAft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76485" y="3671343"/>
            <a:ext cx="7780368" cy="2939874"/>
          </a:xfrm>
          <a:prstGeom prst="rect">
            <a:avLst/>
          </a:prstGeom>
        </p:spPr>
        <p:txBody>
          <a:bodyPr anchor="ctr" anchorCtr="0"/>
          <a:lstStyle>
            <a:lvl1pPr rtl="0">
              <a:lnSpc>
                <a:spcPct val="100000"/>
              </a:lnSpc>
              <a:defRPr sz="7455" b="0" spc="-88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00%</a:t>
            </a:r>
            <a:endParaRPr lang="pl-PL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9540840" y="3671343"/>
            <a:ext cx="7790869" cy="2939874"/>
          </a:xfrm>
          <a:prstGeom prst="rect">
            <a:avLst/>
          </a:prstGeom>
        </p:spPr>
        <p:txBody>
          <a:bodyPr anchor="ctr" anchorCtr="0"/>
          <a:lstStyle>
            <a:lvl1pPr rtl="0">
              <a:lnSpc>
                <a:spcPct val="100000"/>
              </a:lnSpc>
              <a:defRPr sz="7455" b="0" spc="-88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%</a:t>
            </a:r>
            <a:endParaRPr lang="pl-PL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8128200" y="3671343"/>
            <a:ext cx="7780368" cy="2939874"/>
          </a:xfrm>
          <a:prstGeom prst="rect">
            <a:avLst/>
          </a:prstGeom>
        </p:spPr>
        <p:txBody>
          <a:bodyPr anchor="ctr" anchorCtr="0"/>
          <a:lstStyle>
            <a:lvl1pPr rtl="0">
              <a:lnSpc>
                <a:spcPct val="100000"/>
              </a:lnSpc>
              <a:defRPr sz="7455" b="0" spc="-88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00%</a:t>
            </a:r>
            <a:endParaRPr lang="pl-PL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976485" y="952404"/>
            <a:ext cx="24926583" cy="431785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6BC21E25-BA96-8149-8793-205BDC263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xmlns="" id="{904FBFED-85D0-8C43-84C6-BADD19241EDC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9540842" y="7158853"/>
            <a:ext cx="7790869" cy="6460467"/>
          </a:xfrm>
          <a:prstGeom prst="rect">
            <a:avLst/>
          </a:prstGeom>
        </p:spPr>
        <p:txBody>
          <a:bodyPr/>
          <a:lstStyle>
            <a:lvl1pPr rtl="0">
              <a:spcBef>
                <a:spcPts val="0"/>
              </a:spcBef>
              <a:spcAft>
                <a:spcPts val="526"/>
              </a:spcAft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C7D43B0B-6C29-D449-BC95-219F98DA27E0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18128200" y="7158853"/>
            <a:ext cx="7780368" cy="6460467"/>
          </a:xfrm>
          <a:prstGeom prst="rect">
            <a:avLst/>
          </a:prstGeom>
        </p:spPr>
        <p:txBody>
          <a:bodyPr/>
          <a:lstStyle>
            <a:lvl1pPr rtl="0">
              <a:spcBef>
                <a:spcPts val="0"/>
              </a:spcBef>
              <a:spcAft>
                <a:spcPts val="526"/>
              </a:spcAft>
              <a:defRPr>
                <a:solidFill>
                  <a:schemeClr val="accent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266351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onl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F32158D-B281-476A-8848-83D348864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036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F32158D-B281-476A-8848-83D348864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76485" y="952404"/>
            <a:ext cx="24926583" cy="431785"/>
          </a:xfrm>
          <a:prstGeom prst="rect">
            <a:avLst/>
          </a:prstGeo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4515ED1-193B-074D-A589-B9E109B66EF5}"/>
              </a:ext>
            </a:extLst>
          </p:cNvPr>
          <p:cNvSpPr txBox="1"/>
          <p:nvPr userDrawn="1"/>
        </p:nvSpPr>
        <p:spPr>
          <a:xfrm>
            <a:off x="976486" y="14111390"/>
            <a:ext cx="671988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 rtl="0"/>
            <a:r>
              <a:rPr lang="pl-PL" sz="658" b="1">
                <a:solidFill>
                  <a:schemeClr val="bg1"/>
                </a:solidFill>
              </a:rPr>
              <a:t>PwC</a:t>
            </a:r>
            <a:endParaRPr lang="pl-PL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xmlns="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18119200" y="14111394"/>
            <a:ext cx="6487140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l-PL" sz="658">
                <a:solidFill>
                  <a:schemeClr val="bg1"/>
                </a:solidFill>
              </a:rPr>
              <a:t>Proprietary and confidential. Do not distribute.</a:t>
            </a:r>
            <a:endParaRPr lang="pl-PL" sz="65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746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only with Sub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CE22A1D-7F2A-4F2B-8999-5DD52C366A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29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CE22A1D-7F2A-4F2B-8999-5DD52C366A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76485" y="952405"/>
            <a:ext cx="24926583" cy="524118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4515ED1-193B-074D-A589-B9E109B66EF5}"/>
              </a:ext>
            </a:extLst>
          </p:cNvPr>
          <p:cNvSpPr txBox="1"/>
          <p:nvPr userDrawn="1"/>
        </p:nvSpPr>
        <p:spPr>
          <a:xfrm>
            <a:off x="976486" y="14111390"/>
            <a:ext cx="671988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 rtl="0"/>
            <a:r>
              <a:rPr lang="pl-PL" sz="658" b="1">
                <a:solidFill>
                  <a:schemeClr val="bg1"/>
                </a:solidFill>
              </a:rPr>
              <a:t>PwC</a:t>
            </a:r>
            <a:endParaRPr lang="pl-PL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xmlns="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18119200" y="14111394"/>
            <a:ext cx="6487140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l-PL" sz="658">
                <a:solidFill>
                  <a:schemeClr val="bg1"/>
                </a:solidFill>
              </a:rPr>
              <a:t>Proprietary and confidential. Do not distribute.</a:t>
            </a:r>
            <a:endParaRPr lang="pl-PL" sz="658" dirty="0">
              <a:solidFill>
                <a:schemeClr val="bg1"/>
              </a:solidFill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976484" y="2319931"/>
            <a:ext cx="24926585" cy="41626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105" b="0">
                <a:solidFill>
                  <a:schemeClr val="bg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9pPr>
          </a:lstStyle>
          <a:p>
            <a:r>
              <a:rPr lang="pl-PL"/>
              <a:t>[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43640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NoAction 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A4A547E5-05E1-4C96-B06C-B088073B9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126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A4A547E5-05E1-4C96-B06C-B088073B9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4515ED1-193B-074D-A589-B9E109B66EF5}"/>
              </a:ext>
            </a:extLst>
          </p:cNvPr>
          <p:cNvSpPr txBox="1"/>
          <p:nvPr userDrawn="1"/>
        </p:nvSpPr>
        <p:spPr>
          <a:xfrm>
            <a:off x="976486" y="14111390"/>
            <a:ext cx="671988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 rtl="0"/>
            <a:r>
              <a:rPr lang="pl-PL" sz="658" b="1">
                <a:solidFill>
                  <a:schemeClr val="bg1"/>
                </a:solidFill>
              </a:rPr>
              <a:t>PwC</a:t>
            </a:r>
            <a:endParaRPr lang="pl-PL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xmlns="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18119200" y="14111394"/>
            <a:ext cx="6487140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l-PL" sz="658">
                <a:solidFill>
                  <a:schemeClr val="bg1"/>
                </a:solidFill>
              </a:rPr>
              <a:t>Proprietary and confidential. Do not distribute.</a:t>
            </a:r>
            <a:endParaRPr lang="pl-PL" sz="65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7513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12925097-8942-4471-9E69-2A23F95E1C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8673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12925097-8942-4471-9E69-2A23F95E1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hidden">
          <a:xfrm>
            <a:off x="0" y="1"/>
            <a:ext cx="17849701" cy="7559675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pl-PL" sz="1579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7559675"/>
            <a:ext cx="17849701" cy="251989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pl-PL" sz="1579" dirty="0"/>
          </a:p>
        </p:txBody>
      </p:sp>
      <p:sp>
        <p:nvSpPr>
          <p:cNvPr id="11" name="Rectangle 10"/>
          <p:cNvSpPr/>
          <p:nvPr/>
        </p:nvSpPr>
        <p:spPr bwMode="hidden">
          <a:xfrm>
            <a:off x="17849702" y="1"/>
            <a:ext cx="9029849" cy="7559675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pl-PL" sz="1579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3" y="5611397"/>
            <a:ext cx="16355228" cy="688330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6489" y="8298849"/>
            <a:ext cx="12067799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571B43E-7EFD-FC49-8203-0C37C621BF5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408173" y="11752776"/>
            <a:ext cx="3608580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003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E13C1FCF-5748-43FB-BC0E-1D76E6E84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4030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E13C1FCF-5748-43FB-BC0E-1D76E6E84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26879550" cy="15119350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2519893"/>
            <a:ext cx="10079832" cy="10079567"/>
          </a:xfrm>
          <a:prstGeom prst="rect">
            <a:avLst/>
          </a:prstGeom>
          <a:solidFill>
            <a:srgbClr val="E0301E"/>
          </a:solidFill>
        </p:spPr>
        <p:txBody>
          <a:bodyPr lIns="438912" tIns="1440000" rIns="252000" bIns="180000"/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buFont typeface="Arial" panose="020B0604020202020204" pitchFamily="34" charset="0"/>
              <a:buNone/>
              <a:defRPr sz="2280" b="0">
                <a:solidFill>
                  <a:schemeClr val="bg1"/>
                </a:solidFill>
                <a:latin typeface="+mj-lt"/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 b="1">
                <a:solidFill>
                  <a:schemeClr val="bg1"/>
                </a:solidFill>
                <a:latin typeface="+mn-lt"/>
              </a:defRPr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 b="0">
                <a:solidFill>
                  <a:schemeClr val="bg1"/>
                </a:solidFill>
                <a:latin typeface="+mn-lt"/>
              </a:defRPr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 b="0">
                <a:solidFill>
                  <a:schemeClr val="bg1"/>
                </a:solidFill>
                <a:latin typeface="+mn-lt"/>
              </a:defRPr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 b="0">
                <a:solidFill>
                  <a:schemeClr val="bg1"/>
                </a:solidFill>
                <a:latin typeface="+mn-lt"/>
              </a:defRPr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976485" y="3579664"/>
            <a:ext cx="1921469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>
              <a:lnSpc>
                <a:spcPct val="100000"/>
              </a:lnSpc>
            </a:pPr>
            <a:endParaRPr lang="pl-PL" sz="1579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B6EA47A-A519-524E-B3BA-613F4B8FFD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554471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B74A1EE-7141-4867-BA0F-A7BCF6565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6851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BB74A1EE-7141-4867-BA0F-A7BCF6565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3439775" y="0"/>
            <a:ext cx="13439776" cy="15119350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6489" y="3671343"/>
            <a:ext cx="11683504" cy="9936072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bg1"/>
                </a:solidFill>
                <a:latin typeface="+mj-lt"/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>
                <a:solidFill>
                  <a:schemeClr val="bg1"/>
                </a:solidFill>
              </a:defRPr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976485" y="1514583"/>
            <a:ext cx="1921469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/>
            <a:endParaRPr lang="pl-PL" sz="1579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DD07CDB-3D5A-144D-891F-76C8EE52CA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1CBB7F1-AF3C-874C-BE8B-D104DA2E8F83}"/>
              </a:ext>
            </a:extLst>
          </p:cNvPr>
          <p:cNvSpPr txBox="1"/>
          <p:nvPr userDrawn="1"/>
        </p:nvSpPr>
        <p:spPr>
          <a:xfrm>
            <a:off x="976486" y="14111390"/>
            <a:ext cx="671988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 rtl="0"/>
            <a:r>
              <a:rPr lang="pl-PL" sz="658" b="1">
                <a:solidFill>
                  <a:schemeClr val="bg1"/>
                </a:solidFill>
              </a:rPr>
              <a:t>PwC</a:t>
            </a:r>
            <a:endParaRPr lang="pl-PL" sz="658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301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118B334-DC5A-47E9-A088-B61C51C1CE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307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B118B334-DC5A-47E9-A088-B61C51C1CE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3439775" y="0"/>
            <a:ext cx="13439776" cy="15119350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6489" y="3671343"/>
            <a:ext cx="11683504" cy="9936072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tx1"/>
                </a:solidFill>
                <a:latin typeface="+mj-lt"/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/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xmlns="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76485" y="1514583"/>
            <a:ext cx="1921469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/>
            <a:endParaRPr lang="pl-PL" sz="1579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73285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ECA29D50-19D5-4B17-8ECF-6E6F8799F3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5791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ECA29D50-19D5-4B17-8ECF-6E6F8799F3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6487" y="5014585"/>
            <a:ext cx="21033525" cy="8592831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tx1"/>
                </a:solidFill>
                <a:latin typeface="+mj-lt"/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/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76485" y="3004820"/>
            <a:ext cx="1921469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/>
            <a:endParaRPr lang="pl-PL" sz="1579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F8B6AD2-D7A1-494A-91CB-06E4CD0D7C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56153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983178D8-AB6B-4466-9686-0F473276A7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21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983178D8-AB6B-4466-9686-0F473276A7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6487" y="5014585"/>
            <a:ext cx="21033525" cy="8592831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bg1"/>
                </a:solidFill>
                <a:latin typeface="+mj-lt"/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>
                <a:solidFill>
                  <a:schemeClr val="bg1"/>
                </a:solidFill>
              </a:defRPr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976485" y="3004820"/>
            <a:ext cx="1921469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/>
            <a:endParaRPr lang="pl-PL" sz="1579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E00FB7D-272D-B945-B988-9D863187CB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A56951FF-D80A-B440-AD59-21C8CAD0B09D}"/>
              </a:ext>
            </a:extLst>
          </p:cNvPr>
          <p:cNvSpPr txBox="1"/>
          <p:nvPr userDrawn="1"/>
        </p:nvSpPr>
        <p:spPr>
          <a:xfrm>
            <a:off x="976486" y="14111390"/>
            <a:ext cx="671988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 rtl="0"/>
            <a:r>
              <a:rPr lang="pl-PL" sz="658" b="1">
                <a:solidFill>
                  <a:schemeClr val="bg1"/>
                </a:solidFill>
              </a:rPr>
              <a:t>PwC</a:t>
            </a:r>
            <a:endParaRPr lang="pl-PL" sz="658" b="0" dirty="0">
              <a:solidFill>
                <a:schemeClr val="bg1"/>
              </a:solidFill>
            </a:endParaRP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xmlns="" id="{AF2B484D-0DB3-F141-89A2-0AE991EDAF71}"/>
              </a:ext>
            </a:extLst>
          </p:cNvPr>
          <p:cNvSpPr txBox="1">
            <a:spLocks/>
          </p:cNvSpPr>
          <p:nvPr userDrawn="1"/>
        </p:nvSpPr>
        <p:spPr>
          <a:xfrm>
            <a:off x="18119200" y="14111394"/>
            <a:ext cx="6487140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l-PL" sz="658">
                <a:solidFill>
                  <a:schemeClr val="bg1"/>
                </a:solidFill>
              </a:rPr>
              <a:t>Proprietary and confidential. Do not distribute.</a:t>
            </a:r>
            <a:endParaRPr lang="pl-PL" sz="65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239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D93313D-0161-4257-A63D-34E54137C0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3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BD93313D-0161-4257-A63D-34E54137C0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6487" y="5014585"/>
            <a:ext cx="21033525" cy="8592831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bg1"/>
                </a:solidFill>
                <a:latin typeface="+mj-lt"/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>
                <a:solidFill>
                  <a:schemeClr val="bg1"/>
                </a:solidFill>
              </a:defRPr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976485" y="3004820"/>
            <a:ext cx="1921469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/>
            <a:endParaRPr lang="pl-PL" sz="1579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62A6F6AB-3F75-814E-B81E-F9E4C24E9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18FA72BC-16D1-2045-8477-A02F773FC3E7}"/>
              </a:ext>
            </a:extLst>
          </p:cNvPr>
          <p:cNvSpPr txBox="1"/>
          <p:nvPr userDrawn="1"/>
        </p:nvSpPr>
        <p:spPr>
          <a:xfrm>
            <a:off x="976486" y="14111390"/>
            <a:ext cx="671988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 rtl="0"/>
            <a:r>
              <a:rPr lang="pl-PL" sz="658" b="1">
                <a:solidFill>
                  <a:schemeClr val="bg1"/>
                </a:solidFill>
              </a:rPr>
              <a:t>PwC</a:t>
            </a:r>
            <a:endParaRPr lang="pl-PL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xmlns="" id="{49F59E92-0B7C-6340-9BCB-B2E93DCC0ECB}"/>
              </a:ext>
            </a:extLst>
          </p:cNvPr>
          <p:cNvSpPr txBox="1">
            <a:spLocks/>
          </p:cNvSpPr>
          <p:nvPr userDrawn="1"/>
        </p:nvSpPr>
        <p:spPr>
          <a:xfrm>
            <a:off x="18119200" y="14111394"/>
            <a:ext cx="6487140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l-PL" sz="658">
                <a:solidFill>
                  <a:schemeClr val="bg1"/>
                </a:solidFill>
              </a:rPr>
              <a:t>Proprietary and confidential. Do not distribute.</a:t>
            </a:r>
            <a:endParaRPr lang="pl-PL" sz="65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9944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6A8D96F-09F3-4072-BEED-FDBBBA1B40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1323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6A8D96F-09F3-4072-BEED-FDBBBA1B40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6487" y="5014585"/>
            <a:ext cx="21033525" cy="8592831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bg1"/>
                </a:solidFill>
                <a:latin typeface="+mj-lt"/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>
                <a:solidFill>
                  <a:schemeClr val="bg1"/>
                </a:solidFill>
              </a:defRPr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976485" y="3004820"/>
            <a:ext cx="1921469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/>
            <a:endParaRPr lang="pl-PL" sz="1579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087F919-EC3A-3241-8DAE-2E4D035F75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7D1A23C-DCC6-AB46-9BE5-B99F14C52642}"/>
              </a:ext>
            </a:extLst>
          </p:cNvPr>
          <p:cNvSpPr txBox="1"/>
          <p:nvPr userDrawn="1"/>
        </p:nvSpPr>
        <p:spPr>
          <a:xfrm>
            <a:off x="976486" y="14111390"/>
            <a:ext cx="671988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 rtl="0">
              <a:lnSpc>
                <a:spcPct val="100000"/>
              </a:lnSpc>
            </a:pPr>
            <a:r>
              <a:rPr lang="pl-PL" sz="658" b="1">
                <a:solidFill>
                  <a:schemeClr val="bg1"/>
                </a:solidFill>
              </a:rPr>
              <a:t>PwC</a:t>
            </a:r>
            <a:endParaRPr lang="pl-PL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xmlns="" id="{3C12044F-4FE3-EA46-A9A8-1FD082BCFDA8}"/>
              </a:ext>
            </a:extLst>
          </p:cNvPr>
          <p:cNvSpPr txBox="1">
            <a:spLocks/>
          </p:cNvSpPr>
          <p:nvPr userDrawn="1"/>
        </p:nvSpPr>
        <p:spPr>
          <a:xfrm>
            <a:off x="18119200" y="14111394"/>
            <a:ext cx="6487140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l-PL" sz="658">
                <a:solidFill>
                  <a:schemeClr val="bg1"/>
                </a:solidFill>
              </a:rPr>
              <a:t>Proprietary and confidential. Do not distribute.</a:t>
            </a:r>
            <a:endParaRPr lang="pl-PL" sz="65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6784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F78D229F-9639-498C-992B-5B2684F962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206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F78D229F-9639-498C-992B-5B2684F96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6487" y="5014585"/>
            <a:ext cx="21033525" cy="8592831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bg1"/>
                </a:solidFill>
                <a:latin typeface="+mj-lt"/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>
                <a:solidFill>
                  <a:schemeClr val="bg1"/>
                </a:solidFill>
              </a:defRPr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976485" y="3004820"/>
            <a:ext cx="1921469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/>
            <a:endParaRPr lang="pl-PL" sz="1579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111AB2D-BD6C-ED44-886E-A866C564DF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972784" y="14111394"/>
            <a:ext cx="930285" cy="302387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BA32DA9-721C-CB42-9B45-34944DEEA5B9}"/>
              </a:ext>
            </a:extLst>
          </p:cNvPr>
          <p:cNvSpPr txBox="1"/>
          <p:nvPr userDrawn="1"/>
        </p:nvSpPr>
        <p:spPr>
          <a:xfrm>
            <a:off x="976486" y="14111390"/>
            <a:ext cx="671988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 rtl="0"/>
            <a:r>
              <a:rPr lang="pl-PL" sz="658" b="1">
                <a:solidFill>
                  <a:schemeClr val="bg1"/>
                </a:solidFill>
              </a:rPr>
              <a:t>PwC</a:t>
            </a:r>
            <a:endParaRPr lang="pl-PL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xmlns="" id="{9879C374-4EBE-A344-AEC0-A65E3C58CDC1}"/>
              </a:ext>
            </a:extLst>
          </p:cNvPr>
          <p:cNvSpPr txBox="1">
            <a:spLocks/>
          </p:cNvSpPr>
          <p:nvPr userDrawn="1"/>
        </p:nvSpPr>
        <p:spPr>
          <a:xfrm>
            <a:off x="18119200" y="14111394"/>
            <a:ext cx="6487140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l-PL" sz="658">
                <a:solidFill>
                  <a:schemeClr val="bg1"/>
                </a:solidFill>
              </a:rPr>
              <a:t>Proprietary and confidential. Do not distribute.</a:t>
            </a:r>
            <a:endParaRPr lang="pl-PL" sz="65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726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8A7EB295-8027-4F46-B10B-F799F108C1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89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8A7EB295-8027-4F46-B10B-F799F108C1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2148297" y="3671346"/>
            <a:ext cx="13754769" cy="612923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rtl="0">
              <a:lnSpc>
                <a:spcPct val="100000"/>
              </a:lnSpc>
              <a:defRPr sz="3508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[Section header title]</a:t>
            </a:r>
            <a:endParaRPr lang="pl-PL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76485" y="3671345"/>
            <a:ext cx="9579338" cy="9936072"/>
          </a:xfrm>
          <a:prstGeom prst="rect">
            <a:avLst/>
          </a:prstGeom>
          <a:noFill/>
        </p:spPr>
        <p:txBody>
          <a:bodyPr anchor="ctr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964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9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75197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6000F9C-B586-462D-8355-1C073824C1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686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6000F9C-B586-462D-8355-1C073824C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2148297" y="3671345"/>
            <a:ext cx="13754769" cy="6129232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rtl="0">
              <a:lnSpc>
                <a:spcPct val="100000"/>
              </a:lnSpc>
              <a:defRPr sz="3508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[Section header title]</a:t>
            </a:r>
            <a:endParaRPr lang="pl-PL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xmlns="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76485" y="3671345"/>
            <a:ext cx="9579338" cy="9936072"/>
          </a:xfrm>
          <a:prstGeom prst="rect">
            <a:avLst/>
          </a:prstGeom>
          <a:noFill/>
        </p:spPr>
        <p:txBody>
          <a:bodyPr anchor="ctr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964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9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9252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B277296C-4FDE-4059-8D7D-41C1F8BD2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026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B277296C-4FDE-4059-8D7D-41C1F8BD2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hidden">
          <a:xfrm>
            <a:off x="0" y="1"/>
            <a:ext cx="17849701" cy="7559675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pl-PL" sz="1579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7559675"/>
            <a:ext cx="17849701" cy="2519892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pl-PL" sz="1579" dirty="0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hidden">
          <a:xfrm>
            <a:off x="17849702" y="1"/>
            <a:ext cx="9029849" cy="7559675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pl-PL" sz="1579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3" y="5611397"/>
            <a:ext cx="16355228" cy="688330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6489" y="8298849"/>
            <a:ext cx="12067799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C2DF81D-CFC9-CA4F-9296-0DF32281B17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408173" y="11752776"/>
            <a:ext cx="3608580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206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6143646-7F04-4266-AA36-071FDA523E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229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6143646-7F04-4266-AA36-071FDA523E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2148297" y="3671346"/>
            <a:ext cx="13754769" cy="612923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rtl="0">
              <a:lnSpc>
                <a:spcPct val="100000"/>
              </a:lnSpc>
              <a:defRPr sz="3508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[Section header title]</a:t>
            </a:r>
            <a:endParaRPr lang="pl-PL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76485" y="3671345"/>
            <a:ext cx="9579338" cy="9936072"/>
          </a:xfrm>
          <a:prstGeom prst="rect">
            <a:avLst/>
          </a:prstGeom>
          <a:noFill/>
        </p:spPr>
        <p:txBody>
          <a:bodyPr anchor="ctr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964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9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285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82CD94FB-C02F-4BD9-8629-D647AD69F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2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82CD94FB-C02F-4BD9-8629-D647AD69F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2148297" y="3671346"/>
            <a:ext cx="13754769" cy="612923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rtl="0">
              <a:lnSpc>
                <a:spcPct val="100000"/>
              </a:lnSpc>
              <a:defRPr sz="3508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[Section header title]</a:t>
            </a:r>
            <a:endParaRPr lang="pl-PL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76485" y="3671345"/>
            <a:ext cx="9579338" cy="9936072"/>
          </a:xfrm>
          <a:prstGeom prst="rect">
            <a:avLst/>
          </a:prstGeom>
          <a:noFill/>
        </p:spPr>
        <p:txBody>
          <a:bodyPr anchor="ctr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964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9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10266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5C622D6-2217-45F7-8C4B-0D52FD6ED6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321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5C622D6-2217-45F7-8C4B-0D52FD6ED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xmlns="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6487" y="944959"/>
            <a:ext cx="3030247" cy="4334214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rtl="0">
              <a:lnSpc>
                <a:spcPct val="100000"/>
              </a:lnSpc>
              <a:defRPr sz="12629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7858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3780B170-F2F8-473F-B6B9-DD765545EC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918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3780B170-F2F8-473F-B6B9-DD765545E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xmlns="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6487" y="944959"/>
            <a:ext cx="3030247" cy="4334214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rtl="0">
              <a:lnSpc>
                <a:spcPct val="100000"/>
              </a:lnSpc>
              <a:defRPr sz="12629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589264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E984C76-C604-4527-849C-553E8B850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350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E984C76-C604-4527-849C-553E8B850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xmlns="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6487" y="944959"/>
            <a:ext cx="3030247" cy="4334214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rtl="0">
              <a:lnSpc>
                <a:spcPct val="100000"/>
              </a:lnSpc>
              <a:defRPr sz="12629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867170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9F591F0-4FD4-467D-B6F6-863F5110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71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B9F591F0-4FD4-467D-B6F6-863F5110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xmlns="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6487" y="944959"/>
            <a:ext cx="3030247" cy="4334214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rtl="0">
              <a:lnSpc>
                <a:spcPct val="100000"/>
              </a:lnSpc>
              <a:defRPr sz="12629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8744447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1E1B80CA-0946-4152-8EF5-3FEA496B6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9990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1E1B80CA-0946-4152-8EF5-3FEA496B6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 bwMode="hidden">
          <a:xfrm>
            <a:off x="1" y="10892754"/>
            <a:ext cx="26879550" cy="422659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pl-PL" sz="1579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7" y="5516885"/>
            <a:ext cx="12067797" cy="782843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100000"/>
              </a:lnSpc>
              <a:defRPr sz="5087">
                <a:solidFill>
                  <a:schemeClr val="bg1"/>
                </a:solidFill>
              </a:defRPr>
            </a:lvl1pPr>
          </a:lstStyle>
          <a:p>
            <a:r>
              <a:rPr lang="pl-PL"/>
              <a:t>Thank you</a:t>
            </a:r>
            <a:endParaRPr lang="pl-PL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11759804" y="0"/>
            <a:ext cx="15119747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>
              <a:lnSpc>
                <a:spcPct val="100000"/>
              </a:lnSpc>
            </a:pPr>
            <a:endParaRPr lang="pl-PL" sz="1579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76484" y="11595470"/>
            <a:ext cx="24926585" cy="3200262"/>
          </a:xfrm>
          <a:prstGeom prst="rect">
            <a:avLst/>
          </a:prstGeom>
        </p:spPr>
        <p:txBody>
          <a:bodyPr/>
          <a:lstStyle>
            <a:lvl1pPr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[Legal]</a:t>
            </a:r>
            <a:endParaRPr lang="pl-PL" dirty="0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11759804" y="0"/>
            <a:ext cx="15119747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>
              <a:lnSpc>
                <a:spcPct val="100000"/>
              </a:lnSpc>
            </a:pPr>
            <a:endParaRPr lang="pl-PL" sz="1579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7A53FBC-337E-0D4B-8811-6E0EEC0A9293}"/>
              </a:ext>
            </a:extLst>
          </p:cNvPr>
          <p:cNvSpPr txBox="1"/>
          <p:nvPr userDrawn="1"/>
        </p:nvSpPr>
        <p:spPr>
          <a:xfrm>
            <a:off x="976485" y="9701581"/>
            <a:ext cx="12067797" cy="750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rtl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pl-PL" sz="1052">
                <a:solidFill>
                  <a:schemeClr val="bg1"/>
                </a:solidFill>
              </a:rPr>
              <a:t>pwc.com</a:t>
            </a:r>
            <a:endParaRPr lang="pl-PL" sz="1052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99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F926DD2A-8D7E-45D2-884C-21893EB84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761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F926DD2A-8D7E-45D2-884C-21893EB84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 bwMode="hidden">
          <a:xfrm>
            <a:off x="1" y="10892754"/>
            <a:ext cx="26879550" cy="422659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pl-PL" sz="1579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7" y="5516885"/>
            <a:ext cx="12067797" cy="782843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100000"/>
              </a:lnSpc>
              <a:defRPr sz="5087">
                <a:solidFill>
                  <a:schemeClr val="tx1"/>
                </a:solidFill>
              </a:defRPr>
            </a:lvl1pPr>
          </a:lstStyle>
          <a:p>
            <a:r>
              <a:rPr lang="pl-PL"/>
              <a:t>Thank you</a:t>
            </a:r>
            <a:endParaRPr lang="pl-PL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11759804" y="0"/>
            <a:ext cx="15119747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>
              <a:lnSpc>
                <a:spcPct val="100000"/>
              </a:lnSpc>
            </a:pPr>
            <a:endParaRPr lang="pl-PL" sz="1579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76484" y="11595470"/>
            <a:ext cx="24926585" cy="3200262"/>
          </a:xfrm>
          <a:prstGeom prst="rect">
            <a:avLst/>
          </a:prstGeom>
        </p:spPr>
        <p:txBody>
          <a:bodyPr/>
          <a:lstStyle>
            <a:lvl1pPr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[Legal]</a:t>
            </a:r>
            <a:endParaRPr lang="pl-PL" dirty="0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11759804" y="0"/>
            <a:ext cx="15119747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>
              <a:lnSpc>
                <a:spcPct val="100000"/>
              </a:lnSpc>
            </a:pPr>
            <a:endParaRPr lang="pl-PL" sz="157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745B5A1-1961-2549-9AC7-6FB51905A5F2}"/>
              </a:ext>
            </a:extLst>
          </p:cNvPr>
          <p:cNvSpPr txBox="1"/>
          <p:nvPr userDrawn="1"/>
        </p:nvSpPr>
        <p:spPr>
          <a:xfrm>
            <a:off x="976485" y="9701581"/>
            <a:ext cx="12067797" cy="750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rtl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pl-PL" sz="1052">
                <a:solidFill>
                  <a:schemeClr val="tx1"/>
                </a:solidFill>
              </a:rPr>
              <a:t>pwc.com</a:t>
            </a:r>
            <a:endParaRPr lang="pl-PL" sz="1052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65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B95DF859-E95C-4D93-8FC7-95FF018A2E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88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B95DF859-E95C-4D93-8FC7-95FF018A2E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hidden">
          <a:xfrm>
            <a:off x="1" y="10892754"/>
            <a:ext cx="26879550" cy="422659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pl-PL" sz="1579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7" y="5516885"/>
            <a:ext cx="12067797" cy="782843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100000"/>
              </a:lnSpc>
              <a:defRPr sz="5087">
                <a:solidFill>
                  <a:schemeClr val="tx1"/>
                </a:solidFill>
              </a:defRPr>
            </a:lvl1pPr>
          </a:lstStyle>
          <a:p>
            <a:r>
              <a:rPr lang="pl-PL"/>
              <a:t>Thank you</a:t>
            </a:r>
            <a:endParaRPr lang="pl-PL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11759804" y="0"/>
            <a:ext cx="15119747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>
              <a:lnSpc>
                <a:spcPct val="100000"/>
              </a:lnSpc>
            </a:pPr>
            <a:endParaRPr lang="pl-PL" sz="1579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76484" y="11595470"/>
            <a:ext cx="24926585" cy="3200262"/>
          </a:xfrm>
          <a:prstGeom prst="rect">
            <a:avLst/>
          </a:prstGeom>
        </p:spPr>
        <p:txBody>
          <a:bodyPr/>
          <a:lstStyle>
            <a:lvl1pPr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[Legal]</a:t>
            </a:r>
            <a:endParaRPr lang="pl-PL" dirty="0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11759804" y="0"/>
            <a:ext cx="15119747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rtl="0">
              <a:lnSpc>
                <a:spcPct val="100000"/>
              </a:lnSpc>
            </a:pPr>
            <a:endParaRPr lang="pl-PL" sz="157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745B5A1-1961-2549-9AC7-6FB51905A5F2}"/>
              </a:ext>
            </a:extLst>
          </p:cNvPr>
          <p:cNvSpPr txBox="1"/>
          <p:nvPr userDrawn="1"/>
        </p:nvSpPr>
        <p:spPr>
          <a:xfrm>
            <a:off x="976485" y="9701581"/>
            <a:ext cx="12067797" cy="750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rtl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pl-PL" sz="1052">
                <a:solidFill>
                  <a:schemeClr val="tx1"/>
                </a:solidFill>
              </a:rPr>
              <a:t>pwc.com</a:t>
            </a:r>
            <a:endParaRPr lang="pl-PL" sz="1052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616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>
  <p:cSld name="1_Title Slide 1">
    <p:spTree>
      <p:nvGrpSpPr>
        <p:cNvPr id="1" name="Shape 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79E8165A-D0EA-4288-A384-3567A34B53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154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79E8165A-D0EA-4288-A384-3567A34B53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4" name="Google Shape;674;p118"/>
          <p:cNvSpPr/>
          <p:nvPr/>
        </p:nvSpPr>
        <p:spPr>
          <a:xfrm>
            <a:off x="1" y="1"/>
            <a:ext cx="17849704" cy="7559675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txBody>
          <a:bodyPr spcFirstLastPara="1" wrap="square" lIns="106901" tIns="53435" rIns="106901" bIns="5343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l-PL" sz="122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5" name="Google Shape;675;p118"/>
          <p:cNvSpPr/>
          <p:nvPr/>
        </p:nvSpPr>
        <p:spPr>
          <a:xfrm>
            <a:off x="1" y="7559675"/>
            <a:ext cx="17849704" cy="251989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106901" tIns="53435" rIns="106901" bIns="5343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l-PL" sz="122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6" name="Google Shape;676;p118"/>
          <p:cNvSpPr/>
          <p:nvPr/>
        </p:nvSpPr>
        <p:spPr>
          <a:xfrm>
            <a:off x="17849701" y="1"/>
            <a:ext cx="9029852" cy="7559675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txBody>
          <a:bodyPr spcFirstLastPara="1" wrap="square" lIns="106901" tIns="53435" rIns="106901" bIns="5343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l-PL" sz="122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7" name="Google Shape;677;p118"/>
          <p:cNvSpPr txBox="1">
            <a:spLocks noGrp="1"/>
          </p:cNvSpPr>
          <p:nvPr>
            <p:ph type="ctrTitle"/>
          </p:nvPr>
        </p:nvSpPr>
        <p:spPr>
          <a:xfrm>
            <a:off x="976486" y="944960"/>
            <a:ext cx="16355228" cy="5354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5262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pl-PL" dirty="0"/>
          </a:p>
        </p:txBody>
      </p:sp>
      <p:sp>
        <p:nvSpPr>
          <p:cNvPr id="678" name="Google Shape;678;p118"/>
          <p:cNvSpPr txBox="1">
            <a:spLocks noGrp="1"/>
          </p:cNvSpPr>
          <p:nvPr>
            <p:ph type="subTitle" idx="1"/>
          </p:nvPr>
        </p:nvSpPr>
        <p:spPr>
          <a:xfrm>
            <a:off x="976489" y="8265245"/>
            <a:ext cx="12067799" cy="1310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3" b="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9pPr>
          </a:lstStyle>
          <a:p>
            <a:endParaRPr lang="pl-PL" dirty="0"/>
          </a:p>
        </p:txBody>
      </p:sp>
      <p:pic>
        <p:nvPicPr>
          <p:cNvPr id="679" name="Google Shape;679;p118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08173" y="11752778"/>
            <a:ext cx="3608580" cy="29788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879888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E49A1E8-1C85-4F38-8F9F-9D1B74640C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632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6E49A1E8-1C85-4F38-8F9F-9D1B74640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3" y="5611397"/>
            <a:ext cx="16355228" cy="688330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6486" y="8298849"/>
            <a:ext cx="12067799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067EFBB-B928-AC40-8026-93C731DCE1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408173" y="11752775"/>
            <a:ext cx="3608580" cy="2978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376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Light">
  <p:cSld name="1_Thank You Light">
    <p:bg>
      <p:bgPr>
        <a:solidFill>
          <a:schemeClr val="lt1"/>
        </a:solidFill>
        <a:effectLst/>
      </p:bgPr>
    </p:bg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E62F94A6-E8F1-4CEA-819E-A5B7B5541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020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E62F94A6-E8F1-4CEA-819E-A5B7B5541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4" name="Google Shape;684;p120"/>
          <p:cNvSpPr/>
          <p:nvPr/>
        </p:nvSpPr>
        <p:spPr>
          <a:xfrm>
            <a:off x="1" y="10892751"/>
            <a:ext cx="26879550" cy="422671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80182" tIns="40077" rIns="80182" bIns="40077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pl-PL" sz="1637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5" name="Google Shape;685;p120"/>
          <p:cNvSpPr txBox="1">
            <a:spLocks noGrp="1"/>
          </p:cNvSpPr>
          <p:nvPr>
            <p:ph type="ctrTitle"/>
          </p:nvPr>
        </p:nvSpPr>
        <p:spPr>
          <a:xfrm>
            <a:off x="976491" y="4331982"/>
            <a:ext cx="12067578" cy="196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Georgia"/>
              <a:buNone/>
              <a:defRPr sz="5145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pl-PL" dirty="0"/>
          </a:p>
        </p:txBody>
      </p:sp>
      <p:sp>
        <p:nvSpPr>
          <p:cNvPr id="686" name="Google Shape;686;p120"/>
          <p:cNvSpPr/>
          <p:nvPr/>
        </p:nvSpPr>
        <p:spPr>
          <a:xfrm>
            <a:off x="11759804" y="0"/>
            <a:ext cx="15119747" cy="15119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182" tIns="40077" rIns="80182" bIns="40077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pl-PL" sz="1637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7" name="Google Shape;687;p120"/>
          <p:cNvSpPr txBox="1">
            <a:spLocks noGrp="1"/>
          </p:cNvSpPr>
          <p:nvPr>
            <p:ph type="body" idx="1"/>
          </p:nvPr>
        </p:nvSpPr>
        <p:spPr>
          <a:xfrm>
            <a:off x="976482" y="11595470"/>
            <a:ext cx="24926196" cy="3200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534606" lvl="0" indent="-26730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 b="0">
                <a:solidFill>
                  <a:schemeClr val="lt1"/>
                </a:solidFill>
              </a:defRPr>
            </a:lvl1pPr>
            <a:lvl2pPr marL="1069212" lvl="1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 b="0">
                <a:solidFill>
                  <a:schemeClr val="lt1"/>
                </a:solidFill>
              </a:defRPr>
            </a:lvl2pPr>
            <a:lvl3pPr marL="1603817" lvl="2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 b="0">
                <a:solidFill>
                  <a:schemeClr val="lt1"/>
                </a:solidFill>
              </a:defRPr>
            </a:lvl3pPr>
            <a:lvl4pPr marL="2138423" lvl="3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 b="0">
                <a:solidFill>
                  <a:schemeClr val="lt1"/>
                </a:solidFill>
              </a:defRPr>
            </a:lvl4pPr>
            <a:lvl5pPr marL="2673029" lvl="4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 b="0">
                <a:solidFill>
                  <a:schemeClr val="lt1"/>
                </a:solidFill>
              </a:defRPr>
            </a:lvl5pPr>
            <a:lvl6pPr marL="3207635" lvl="5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>
                <a:solidFill>
                  <a:schemeClr val="lt1"/>
                </a:solidFill>
              </a:defRPr>
            </a:lvl6pPr>
            <a:lvl7pPr marL="3742241" lvl="6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>
                <a:solidFill>
                  <a:schemeClr val="lt1"/>
                </a:solidFill>
              </a:defRPr>
            </a:lvl7pPr>
            <a:lvl8pPr marL="4276847" lvl="7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>
                <a:solidFill>
                  <a:schemeClr val="lt1"/>
                </a:solidFill>
              </a:defRPr>
            </a:lvl8pPr>
            <a:lvl9pPr marL="4811453" lvl="8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>
                <a:solidFill>
                  <a:schemeClr val="lt1"/>
                </a:solidFill>
              </a:defRPr>
            </a:lvl9pPr>
          </a:lstStyle>
          <a:p>
            <a:endParaRPr lang="pl-PL" dirty="0"/>
          </a:p>
        </p:txBody>
      </p:sp>
      <p:sp>
        <p:nvSpPr>
          <p:cNvPr id="688" name="Google Shape;688;p120"/>
          <p:cNvSpPr/>
          <p:nvPr/>
        </p:nvSpPr>
        <p:spPr>
          <a:xfrm>
            <a:off x="11759804" y="0"/>
            <a:ext cx="15119747" cy="15119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182" tIns="40077" rIns="80182" bIns="40077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pl-PL" sz="1637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9" name="Google Shape;689;p120"/>
          <p:cNvSpPr txBox="1"/>
          <p:nvPr/>
        </p:nvSpPr>
        <p:spPr>
          <a:xfrm>
            <a:off x="976486" y="9701578"/>
            <a:ext cx="12067578" cy="750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</a:pPr>
            <a:r>
              <a:rPr lang="pl-PL" sz="105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lang="pl-PL" sz="128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7086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16F5ADD-999E-44E1-AA9C-8745BF39AD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60738" y="2474913"/>
            <a:ext cx="20159662" cy="5262562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xmlns="" id="{3A8B1C3C-6CB4-3FC7-D898-543AD36272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60738" y="7940675"/>
            <a:ext cx="20159662" cy="365125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4626D816-770C-DA86-7142-DA84BD8BE7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C3E255B6-0F37-387F-8259-53423E626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0160BF9A-1785-5B01-ADB5-BEEA734B7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92387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57176621-A07A-6397-5655-DAE827FAD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6906F921-0470-CD43-C9CF-1E1FDEDE83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CDD847CE-874F-F099-215D-704EFE5DE8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A41DEEF9-438E-F6B8-4736-A262637AC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E0BD4246-3206-9DA3-BAE8-B2516BAA7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371182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E411837E-6CD2-D5C8-9A33-B79EDFC57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3563" y="3768725"/>
            <a:ext cx="23183850" cy="62896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xmlns="" id="{CC5EED83-AF79-11B8-88E0-1925A949CC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33563" y="10118725"/>
            <a:ext cx="23183850" cy="3306763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32489ACB-0D54-0638-FEA8-FB443B5FD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4F1D13CA-F202-F3F0-FF99-B726392E9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A7349998-7DF0-C0D8-AEDF-A419E583D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851815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FEE21E5-51DF-F006-52E6-3A8A5EDB8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2ED14E60-E978-81D8-A659-329ABA3ECE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847850" y="4024313"/>
            <a:ext cx="11515725" cy="9593262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xmlns="" id="{A41978C7-6354-244C-8FF7-C8565FEB7C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3515975" y="4024313"/>
            <a:ext cx="11515725" cy="9593262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xmlns="" id="{FF553DE6-8967-5BD1-6A10-0D6209172A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xmlns="" id="{EDBF1731-3C5F-02BA-5379-2AE926D1B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xmlns="" id="{37B99B7B-64C7-48F0-419F-A36E4BCAC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428193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37E16DB-319F-CD3E-B0EE-2B3CF7D0D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1025" y="804863"/>
            <a:ext cx="23183850" cy="2922587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xmlns="" id="{5C9EE952-D45D-1722-073D-3DF93E5F33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51025" y="3706813"/>
            <a:ext cx="11371263" cy="18161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xmlns="" id="{7ADAD4AC-9A14-77F0-0002-C2D577F8B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851025" y="5522913"/>
            <a:ext cx="11371263" cy="8123237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xmlns="" id="{07F2DD4D-8D96-6BA6-A0B1-7130FAD517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3608050" y="3706813"/>
            <a:ext cx="11426825" cy="18161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xmlns="" id="{B8A7723C-59DA-71F9-BDE3-3E5BA9ABCA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3608050" y="5522913"/>
            <a:ext cx="11426825" cy="8123237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>
            <a:extLst>
              <a:ext uri="{FF2B5EF4-FFF2-40B4-BE49-F238E27FC236}">
                <a16:creationId xmlns:a16="http://schemas.microsoft.com/office/drawing/2014/main" xmlns="" id="{BC17858F-6F65-676D-8BFE-2445AEEDFE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8" name="Symbol zastępczy stopki 7">
            <a:extLst>
              <a:ext uri="{FF2B5EF4-FFF2-40B4-BE49-F238E27FC236}">
                <a16:creationId xmlns:a16="http://schemas.microsoft.com/office/drawing/2014/main" xmlns="" id="{6D707F98-38F4-99DF-80A9-C6D75EDBA4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>
            <a:extLst>
              <a:ext uri="{FF2B5EF4-FFF2-40B4-BE49-F238E27FC236}">
                <a16:creationId xmlns:a16="http://schemas.microsoft.com/office/drawing/2014/main" xmlns="" id="{FFD9AA90-D8E4-0FBE-2439-B578B91CF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68376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4123D81-247D-B9A6-37DF-6512EF332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xmlns="" id="{0ED335D3-F087-3BA4-EF86-8A6C81CB6E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xmlns="" id="{048DC1C6-E83A-8D7C-1E66-59FB8B783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xmlns="" id="{00AC393B-1E16-CF7D-CD7E-7B70C588FF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835496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xmlns="" id="{CFC4E813-B2EC-DCBD-6E17-7E2CC37B4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xmlns="" id="{99CEF08E-D223-BF97-C2B8-1FD4D6D218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xmlns="" id="{A993E8B8-AF9B-5715-122D-381B8B3C44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62549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5CAD16CC-A3D1-1B3C-3C15-8F2440FD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1025" y="1008063"/>
            <a:ext cx="8669338" cy="35274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2B25FEBB-66F3-7C22-A872-66597045F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26825" y="2176463"/>
            <a:ext cx="13608050" cy="107442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xmlns="" id="{CE3E735F-3E38-5516-FC50-E436EC32F4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51025" y="4535488"/>
            <a:ext cx="8669338" cy="840422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xmlns="" id="{1D3BBAC6-97A4-7F64-B324-7515E32D95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xmlns="" id="{6A595A3B-447D-A896-9B9C-2F320D159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xmlns="" id="{298D9097-2FFF-8175-225C-451F66042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292415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444C2EF7-B253-74DA-278F-53A5F8868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1025" y="1008063"/>
            <a:ext cx="8669338" cy="35274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xmlns="" id="{0099B96D-D19C-AC42-6219-220F4A085F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1426825" y="2176463"/>
            <a:ext cx="13608050" cy="107442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xmlns="" id="{3FA81092-C844-8182-F390-C32DE25639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51025" y="4535488"/>
            <a:ext cx="8669338" cy="840422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xmlns="" id="{D1A2B140-5371-9ABB-4743-B9CCA0BB8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xmlns="" id="{547CC6F6-9F09-DC47-3D51-64F2B0432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xmlns="" id="{2B797DB2-60D0-FADE-2F00-9B8EEEC40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31607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736D7B5-7F6C-46BD-A541-BD4210B03A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5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736D7B5-7F6C-46BD-A541-BD4210B03A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3" y="5611397"/>
            <a:ext cx="16355228" cy="688330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5262">
                <a:solidFill>
                  <a:schemeClr val="tx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6486" y="8298849"/>
            <a:ext cx="12067799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A9644956-77CE-C94F-9DC1-ACB7D92E892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408173" y="11752776"/>
            <a:ext cx="3608580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151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9EB11907-6AB7-2C49-2815-BDA61469F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xmlns="" id="{789F10DF-2BD1-8B8E-93D2-5D05B5E7BB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F3AB5BAD-D9F3-FB4D-CCA3-C838ACEE03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0744FA20-BD19-21F8-60E9-9BBF88CA1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77C7C9A3-DDF4-801A-6FBD-472C33DA1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782702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xmlns="" id="{6A434E8D-E9B5-05D8-529E-426AF318260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9235738" y="804863"/>
            <a:ext cx="5795962" cy="12812712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xmlns="" id="{E5DC7A67-41D9-B58A-AEFE-C5B0E24C85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847850" y="804863"/>
            <a:ext cx="17235488" cy="12812712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E0436292-9117-9C48-BE9A-213F053EE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6ED7B9BE-FF8B-2C4E-6EFC-1B153D57D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8F8A2270-43DB-5397-93B9-7BA8BDF931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503147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003B2E21-2A6C-E31D-53C3-F004ADF745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60738" y="2474913"/>
            <a:ext cx="20159662" cy="5262562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xmlns="" id="{12F154BF-0AE8-6C75-6553-9AB52D4871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60738" y="7940675"/>
            <a:ext cx="20159662" cy="365125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7E577684-5907-F87B-81C3-C22A2E925C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667EE0AE-CF17-2526-D658-C1AAE12C0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589129FD-13A8-7FD5-ED53-5BF746731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54511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4E4AE237-F8F2-AD09-E9CB-B63C60108D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3B6F34DF-551A-2253-E64C-CF381E5CB2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ADFA5300-49EE-5787-7E44-A5E6180DB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5C7BEE4A-06C3-5459-377A-83A54AAD5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0643227E-E061-7149-424F-9981C2EEC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700016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59142493-D178-75B4-E691-CFCD3906A0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3563" y="3768725"/>
            <a:ext cx="23183850" cy="62896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xmlns="" id="{6DDA689F-A744-E5B5-DCB9-557C45A425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33563" y="10118725"/>
            <a:ext cx="23183850" cy="3306763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EA159D99-D93C-9BE7-6FDE-B1D8C5543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776AB409-E407-AF0C-B823-503199198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910B046A-B0D7-70A7-86CC-30CCA90159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1857810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791E14B-CE7E-9C8C-D9E7-FA2201E25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FCBAF063-3606-5E11-27FA-DCB5899472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847850" y="4024313"/>
            <a:ext cx="11515725" cy="9593262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xmlns="" id="{38E1189A-B9E5-5AA9-30CC-39EC53D01D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3515975" y="4024313"/>
            <a:ext cx="11515725" cy="9593262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xmlns="" id="{5643B52C-1509-F10C-3719-FCC1C59AE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xmlns="" id="{454344C5-A053-8E76-076A-AC8AFECD6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xmlns="" id="{A42516DF-65BF-CA6F-D5A3-69F75BF20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46968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A57A4D58-C479-97CC-0562-B2481778F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1025" y="804863"/>
            <a:ext cx="23183850" cy="2922587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xmlns="" id="{E5217912-2191-3FD7-A524-3E3BE34645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51025" y="3706813"/>
            <a:ext cx="11371263" cy="18161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xmlns="" id="{1232ADCE-7D94-3228-38CD-BCDB3E4539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851025" y="5522913"/>
            <a:ext cx="11371263" cy="8123237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xmlns="" id="{AAD35CCA-58E3-F0AD-5538-16F8859A93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3608050" y="3706813"/>
            <a:ext cx="11426825" cy="18161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xmlns="" id="{2C41355F-C628-138E-191E-C9352313E3C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3608050" y="5522913"/>
            <a:ext cx="11426825" cy="8123237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>
            <a:extLst>
              <a:ext uri="{FF2B5EF4-FFF2-40B4-BE49-F238E27FC236}">
                <a16:creationId xmlns:a16="http://schemas.microsoft.com/office/drawing/2014/main" xmlns="" id="{160C7E41-5353-C065-77E2-00A438FB72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8" name="Symbol zastępczy stopki 7">
            <a:extLst>
              <a:ext uri="{FF2B5EF4-FFF2-40B4-BE49-F238E27FC236}">
                <a16:creationId xmlns:a16="http://schemas.microsoft.com/office/drawing/2014/main" xmlns="" id="{E1F1D8FB-7668-2CD3-C769-C4363DFDA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>
            <a:extLst>
              <a:ext uri="{FF2B5EF4-FFF2-40B4-BE49-F238E27FC236}">
                <a16:creationId xmlns:a16="http://schemas.microsoft.com/office/drawing/2014/main" xmlns="" id="{951F00FC-9611-1045-5260-EB97FA087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564693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74996055-4775-AFA1-13DE-BF30D6DBB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xmlns="" id="{369C8DB5-5406-84B7-9AE2-3D74DCB05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xmlns="" id="{E4A5970C-EF35-84C5-5FBC-8C3AB92E1F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xmlns="" id="{157A73EA-2FF1-7BEA-B59C-340DEE88B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328144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xmlns="" id="{5DC84DA5-F70B-93B5-5F2D-C0080C220A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xmlns="" id="{0BF61836-C809-07D0-7043-4645577773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xmlns="" id="{452B2441-58F3-C7CC-FF53-2884B003F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363682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86F605A1-C170-A288-71A3-766B1F1C73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1025" y="1008063"/>
            <a:ext cx="8669338" cy="35274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3E0FE113-FD08-ADDF-F28F-342D79F1EC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26825" y="2176463"/>
            <a:ext cx="13608050" cy="107442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xmlns="" id="{C0B9127E-DFF2-5A4C-C6EA-D7A2DC89CC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51025" y="4535488"/>
            <a:ext cx="8669338" cy="840422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xmlns="" id="{A7128217-228A-8F84-E3DC-0E330DE647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xmlns="" id="{014BAA37-318A-60E8-7D03-7597DCC21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xmlns="" id="{3B31A928-0284-0ED8-398A-741EB87B0E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684876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06537F7-BD57-4FDC-88B8-4C80F046B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918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06537F7-BD57-4FDC-88B8-4C80F046B6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13439775" y="1"/>
            <a:ext cx="13439776" cy="10087971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1" y="1"/>
            <a:ext cx="13439776" cy="1008797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l-PL" sz="1579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1" y="10087972"/>
            <a:ext cx="13439776" cy="50313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l-PL" sz="1579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6486" y="4928212"/>
            <a:ext cx="12067799" cy="573555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6486" y="11247126"/>
            <a:ext cx="12067799" cy="1553929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09BFEA4-1A04-C344-804A-E610366F99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22791479" y="11752776"/>
            <a:ext cx="3608580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4888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A2B6C20A-A403-AD67-4629-E91E9694A1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1025" y="1008063"/>
            <a:ext cx="8669338" cy="35274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xmlns="" id="{99255CD2-6C4C-7BBF-FDCD-A71347420D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1426825" y="2176463"/>
            <a:ext cx="13608050" cy="107442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xmlns="" id="{C1F70CFB-4B92-1184-92F0-D98C949AD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51025" y="4535488"/>
            <a:ext cx="8669338" cy="840422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xmlns="" id="{E0972D3C-2C82-D865-067A-37C850164A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xmlns="" id="{0677895B-A0C9-4C27-3DAE-9445DB2C2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xmlns="" id="{96D65F82-9119-7DE0-D866-99556D4E23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216679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2E1511AA-37CB-9668-760F-A0079B772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xmlns="" id="{F49B380F-63B1-F179-D142-D41DAEDD28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A7C6A2DB-29E2-4038-5653-38026D95E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AF63B27A-F413-6331-3F4A-9BDB8A040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164C13F5-D258-038D-3CC7-E2CFD0C4C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139119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xmlns="" id="{F19C8023-9FB0-69BB-5CDC-DAA2FD23C8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9235738" y="804863"/>
            <a:ext cx="5795962" cy="12812712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xmlns="" id="{6E8F6105-A833-8145-2986-032A39376C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847850" y="804863"/>
            <a:ext cx="17235488" cy="12812712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4B21BDF8-A707-FFD2-8894-B2E2A80C55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D765925C-CEE7-BA11-A9D2-6EC21BA638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C943B148-30A5-4A7C-9061-734F05520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193679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7F105609-98FA-4C99-9DB7-F49CBB1E4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090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7F105609-98FA-4C99-9DB7-F49CBB1E4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1" y="0"/>
            <a:ext cx="26879550" cy="15119350"/>
          </a:xfrm>
          <a:prstGeom prst="rect">
            <a:avLst/>
          </a:prstGeom>
          <a:solidFill>
            <a:srgbClr val="DEDEDE"/>
          </a:solidFill>
        </p:spPr>
        <p:txBody>
          <a:bodyPr tIns="9144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E91E7E14-05A1-3C44-AC4F-3B254DA49C58}"/>
              </a:ext>
            </a:extLst>
          </p:cNvPr>
          <p:cNvGrpSpPr/>
          <p:nvPr userDrawn="1"/>
        </p:nvGrpSpPr>
        <p:grpSpPr>
          <a:xfrm>
            <a:off x="1" y="0"/>
            <a:ext cx="26879550" cy="15119350"/>
            <a:chOff x="0" y="0"/>
            <a:chExt cx="12192000" cy="68580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xmlns="" id="{30AF71D2-4341-774D-95E6-2A6EC9FAB97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0" y="0"/>
              <a:ext cx="12192000" cy="6858000"/>
              <a:chOff x="152400" y="152400"/>
              <a:chExt cx="12196763" cy="6862763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xmlns="" id="{EB6FF182-420C-CE44-A08A-9911616955D9}"/>
                  </a:ext>
                </a:extLst>
              </p:cNvPr>
              <p:cNvSpPr>
                <a:spLocks noChangeAspect="1"/>
              </p:cNvSpPr>
              <p:nvPr/>
            </p:nvSpPr>
            <p:spPr bwMode="hidden">
              <a:xfrm>
                <a:off x="152400" y="3775075"/>
                <a:ext cx="9142413" cy="777875"/>
              </a:xfrm>
              <a:custGeom>
                <a:avLst/>
                <a:gdLst>
                  <a:gd name="T0" fmla="*/ 0 w 7908"/>
                  <a:gd name="T1" fmla="*/ 0 h 1632"/>
                  <a:gd name="T2" fmla="*/ 0 w 7908"/>
                  <a:gd name="T3" fmla="*/ 0 h 1632"/>
                  <a:gd name="T4" fmla="*/ 7908 w 7908"/>
                  <a:gd name="T5" fmla="*/ 0 h 1632"/>
                  <a:gd name="T6" fmla="*/ 7908 w 7908"/>
                  <a:gd name="T7" fmla="*/ 1632 h 1632"/>
                  <a:gd name="T8" fmla="*/ 0 w 7908"/>
                  <a:gd name="T9" fmla="*/ 1632 h 1632"/>
                  <a:gd name="T10" fmla="*/ 0 w 7908"/>
                  <a:gd name="T11" fmla="*/ 0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08" h="1632">
                    <a:moveTo>
                      <a:pt x="0" y="0"/>
                    </a:moveTo>
                    <a:lnTo>
                      <a:pt x="0" y="0"/>
                    </a:lnTo>
                    <a:lnTo>
                      <a:pt x="7908" y="0"/>
                    </a:lnTo>
                    <a:lnTo>
                      <a:pt x="7908" y="1632"/>
                    </a:lnTo>
                    <a:lnTo>
                      <a:pt x="0" y="16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4A0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pl-PL" sz="1579" dirty="0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xmlns="" id="{3BE432B1-2C50-3E4E-AD63-D3F80C22CFAE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152400" y="152400"/>
                <a:ext cx="12196763" cy="6862763"/>
              </a:xfrm>
              <a:custGeom>
                <a:avLst/>
                <a:gdLst>
                  <a:gd name="T0" fmla="*/ 19187 w 25599"/>
                  <a:gd name="T1" fmla="*/ 0 h 14399"/>
                  <a:gd name="T2" fmla="*/ 19187 w 25599"/>
                  <a:gd name="T3" fmla="*/ 0 h 14399"/>
                  <a:gd name="T4" fmla="*/ 19187 w 25599"/>
                  <a:gd name="T5" fmla="*/ 6949 h 14399"/>
                  <a:gd name="T6" fmla="*/ 0 w 25599"/>
                  <a:gd name="T7" fmla="*/ 6949 h 14399"/>
                  <a:gd name="T8" fmla="*/ 0 w 25599"/>
                  <a:gd name="T9" fmla="*/ 7602 h 14399"/>
                  <a:gd name="T10" fmla="*/ 19187 w 25599"/>
                  <a:gd name="T11" fmla="*/ 7602 h 14399"/>
                  <a:gd name="T12" fmla="*/ 19187 w 25599"/>
                  <a:gd name="T13" fmla="*/ 9234 h 14399"/>
                  <a:gd name="T14" fmla="*/ 0 w 25599"/>
                  <a:gd name="T15" fmla="*/ 9234 h 14399"/>
                  <a:gd name="T16" fmla="*/ 0 w 25599"/>
                  <a:gd name="T17" fmla="*/ 9887 h 14399"/>
                  <a:gd name="T18" fmla="*/ 19187 w 25599"/>
                  <a:gd name="T19" fmla="*/ 9887 h 14399"/>
                  <a:gd name="T20" fmla="*/ 19187 w 25599"/>
                  <a:gd name="T21" fmla="*/ 14399 h 14399"/>
                  <a:gd name="T22" fmla="*/ 19839 w 25599"/>
                  <a:gd name="T23" fmla="*/ 14399 h 14399"/>
                  <a:gd name="T24" fmla="*/ 19839 w 25599"/>
                  <a:gd name="T25" fmla="*/ 9887 h 14399"/>
                  <a:gd name="T26" fmla="*/ 25599 w 25599"/>
                  <a:gd name="T27" fmla="*/ 9887 h 14399"/>
                  <a:gd name="T28" fmla="*/ 25599 w 25599"/>
                  <a:gd name="T29" fmla="*/ 9234 h 14399"/>
                  <a:gd name="T30" fmla="*/ 19839 w 25599"/>
                  <a:gd name="T31" fmla="*/ 9234 h 14399"/>
                  <a:gd name="T32" fmla="*/ 19839 w 25599"/>
                  <a:gd name="T33" fmla="*/ 7602 h 14399"/>
                  <a:gd name="T34" fmla="*/ 25599 w 25599"/>
                  <a:gd name="T35" fmla="*/ 7602 h 14399"/>
                  <a:gd name="T36" fmla="*/ 25599 w 25599"/>
                  <a:gd name="T37" fmla="*/ 6949 h 14399"/>
                  <a:gd name="T38" fmla="*/ 19839 w 25599"/>
                  <a:gd name="T39" fmla="*/ 6949 h 14399"/>
                  <a:gd name="T40" fmla="*/ 19839 w 25599"/>
                  <a:gd name="T41" fmla="*/ 0 h 14399"/>
                  <a:gd name="T42" fmla="*/ 19187 w 25599"/>
                  <a:gd name="T43" fmla="*/ 0 h 14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599" h="14399">
                    <a:moveTo>
                      <a:pt x="19187" y="0"/>
                    </a:moveTo>
                    <a:lnTo>
                      <a:pt x="19187" y="0"/>
                    </a:lnTo>
                    <a:lnTo>
                      <a:pt x="19187" y="6949"/>
                    </a:lnTo>
                    <a:lnTo>
                      <a:pt x="0" y="6949"/>
                    </a:lnTo>
                    <a:lnTo>
                      <a:pt x="0" y="7602"/>
                    </a:lnTo>
                    <a:lnTo>
                      <a:pt x="19187" y="7602"/>
                    </a:lnTo>
                    <a:lnTo>
                      <a:pt x="19187" y="9234"/>
                    </a:lnTo>
                    <a:lnTo>
                      <a:pt x="0" y="9234"/>
                    </a:lnTo>
                    <a:lnTo>
                      <a:pt x="0" y="9887"/>
                    </a:lnTo>
                    <a:lnTo>
                      <a:pt x="19187" y="9887"/>
                    </a:lnTo>
                    <a:lnTo>
                      <a:pt x="19187" y="14399"/>
                    </a:lnTo>
                    <a:lnTo>
                      <a:pt x="19839" y="14399"/>
                    </a:lnTo>
                    <a:lnTo>
                      <a:pt x="19839" y="9887"/>
                    </a:lnTo>
                    <a:lnTo>
                      <a:pt x="25599" y="9887"/>
                    </a:lnTo>
                    <a:lnTo>
                      <a:pt x="25599" y="9234"/>
                    </a:lnTo>
                    <a:lnTo>
                      <a:pt x="19839" y="9234"/>
                    </a:lnTo>
                    <a:lnTo>
                      <a:pt x="19839" y="7602"/>
                    </a:lnTo>
                    <a:lnTo>
                      <a:pt x="25599" y="7602"/>
                    </a:lnTo>
                    <a:lnTo>
                      <a:pt x="25599" y="6949"/>
                    </a:lnTo>
                    <a:lnTo>
                      <a:pt x="19839" y="6949"/>
                    </a:lnTo>
                    <a:lnTo>
                      <a:pt x="19839" y="0"/>
                    </a:lnTo>
                    <a:lnTo>
                      <a:pt x="1918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pl-PL" sz="1579" dirty="0"/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642E31FB-8697-8E4D-9430-7773E91817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76487" y="8187128"/>
            <a:ext cx="12067797" cy="1305304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76488" y="4583048"/>
            <a:ext cx="16355223" cy="516295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3947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91893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839D00EC-50D9-470E-91D3-96128DACA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6364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839D00EC-50D9-470E-91D3-96128DACA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1" y="0"/>
            <a:ext cx="26879550" cy="15119350"/>
          </a:xfrm>
          <a:prstGeom prst="rect">
            <a:avLst/>
          </a:prstGeom>
          <a:solidFill>
            <a:srgbClr val="DEDEDE"/>
          </a:solidFill>
        </p:spPr>
        <p:txBody>
          <a:bodyPr tIns="91440"/>
          <a:lstStyle>
            <a:lvl1pPr algn="ctr" rtl="0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B7BDC28A-6CCA-D946-B517-6BB4EEB49B0B}"/>
              </a:ext>
            </a:extLst>
          </p:cNvPr>
          <p:cNvGrpSpPr/>
          <p:nvPr userDrawn="1"/>
        </p:nvGrpSpPr>
        <p:grpSpPr>
          <a:xfrm>
            <a:off x="1" y="0"/>
            <a:ext cx="26879550" cy="1511935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xmlns="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pl-PL" sz="1579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xmlns="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xmlns="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976486" y="8187130"/>
            <a:ext cx="12067799" cy="1310037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76485" y="4583048"/>
            <a:ext cx="16355225" cy="516295"/>
          </a:xfrm>
          <a:prstGeom prst="rect">
            <a:avLst/>
          </a:prstGeom>
        </p:spPr>
        <p:txBody>
          <a:bodyPr vert="horz" anchor="b" anchorCtr="0"/>
          <a:lstStyle>
            <a:lvl1pPr algn="l" rtl="0">
              <a:lnSpc>
                <a:spcPct val="85000"/>
              </a:lnSpc>
              <a:defRPr sz="3947">
                <a:solidFill>
                  <a:schemeClr val="tx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803711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2713076999"/>
              </p:ext>
            </p:extLst>
          </p:nvPr>
        </p:nvGraphicFramePr>
        <p:xfrm>
          <a:off x="3502" y="3503"/>
          <a:ext cx="3500" cy="3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4" imgW="338" imgH="338" progId="TCLayout.ActiveDocument.1">
                  <p:embed/>
                </p:oleObj>
              </mc:Choice>
              <mc:Fallback>
                <p:oleObj name="think-cell Slide" r:id="rId54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3502" y="3503"/>
                        <a:ext cx="3500" cy="3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86" r:id="rId17"/>
    <p:sldLayoutId id="2147483791" r:id="rId18"/>
    <p:sldLayoutId id="2147483794" r:id="rId19"/>
    <p:sldLayoutId id="2147483790" r:id="rId20"/>
    <p:sldLayoutId id="2147483801" r:id="rId21"/>
    <p:sldLayoutId id="2147483745" r:id="rId22"/>
    <p:sldLayoutId id="2147483796" r:id="rId23"/>
    <p:sldLayoutId id="2147483797" r:id="rId24"/>
    <p:sldLayoutId id="2147483765" r:id="rId25"/>
    <p:sldLayoutId id="2147483766" r:id="rId26"/>
    <p:sldLayoutId id="2147483767" r:id="rId27"/>
    <p:sldLayoutId id="2147483792" r:id="rId28"/>
    <p:sldLayoutId id="2147483793" r:id="rId29"/>
    <p:sldLayoutId id="2147483770" r:id="rId30"/>
    <p:sldLayoutId id="2147483771" r:id="rId31"/>
    <p:sldLayoutId id="2147483772" r:id="rId32"/>
    <p:sldLayoutId id="2147483773" r:id="rId33"/>
    <p:sldLayoutId id="2147483774" r:id="rId34"/>
    <p:sldLayoutId id="2147483775" r:id="rId35"/>
    <p:sldLayoutId id="2147483776" r:id="rId36"/>
    <p:sldLayoutId id="2147483777" r:id="rId37"/>
    <p:sldLayoutId id="2147483778" r:id="rId38"/>
    <p:sldLayoutId id="2147483779" r:id="rId39"/>
    <p:sldLayoutId id="2147483780" r:id="rId40"/>
    <p:sldLayoutId id="2147483781" r:id="rId41"/>
    <p:sldLayoutId id="2147483782" r:id="rId42"/>
    <p:sldLayoutId id="2147483783" r:id="rId43"/>
    <p:sldLayoutId id="2147483784" r:id="rId44"/>
    <p:sldLayoutId id="2147483785" r:id="rId45"/>
    <p:sldLayoutId id="2147483788" r:id="rId46"/>
    <p:sldLayoutId id="2147483789" r:id="rId47"/>
    <p:sldLayoutId id="2147483800" r:id="rId48"/>
    <p:sldLayoutId id="2147483798" r:id="rId49"/>
    <p:sldLayoutId id="2147483799" r:id="rId50"/>
  </p:sldLayoutIdLst>
  <p:hf hdr="0" ftr="0" dt="0"/>
  <p:txStyles>
    <p:titleStyle>
      <a:lvl1pPr algn="l" defTabSz="801929" rtl="0" eaLnBrk="1" latinLnBrk="0" hangingPunct="1">
        <a:lnSpc>
          <a:spcPct val="100000"/>
        </a:lnSpc>
        <a:spcBef>
          <a:spcPct val="0"/>
        </a:spcBef>
        <a:buNone/>
        <a:defRPr sz="2806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01929" rtl="0" eaLnBrk="1" latinLnBrk="0" hangingPunct="1">
        <a:lnSpc>
          <a:spcPct val="100000"/>
        </a:lnSpc>
        <a:spcBef>
          <a:spcPts val="0"/>
        </a:spcBef>
        <a:spcAft>
          <a:spcPts val="1052"/>
        </a:spcAft>
        <a:buFont typeface="Arial" panose="020B0604020202020204" pitchFamily="34" charset="0"/>
        <a:buNone/>
        <a:defRPr sz="1579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None/>
        <a:defRPr sz="1403" kern="1200">
          <a:solidFill>
            <a:schemeClr val="tx1"/>
          </a:solidFill>
          <a:latin typeface="+mn-lt"/>
          <a:ea typeface="+mn-ea"/>
          <a:cs typeface="+mn-cs"/>
        </a:defRPr>
      </a:lvl2pPr>
      <a:lvl3pPr marL="158715" indent="-158715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•"/>
        <a:defRPr sz="1403" kern="1200">
          <a:solidFill>
            <a:schemeClr val="tx1"/>
          </a:solidFill>
          <a:latin typeface="+mn-lt"/>
          <a:ea typeface="+mn-ea"/>
          <a:cs typeface="+mn-cs"/>
        </a:defRPr>
      </a:lvl3pPr>
      <a:lvl4pPr marL="317430" indent="-158715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–"/>
        <a:defRPr sz="1403" kern="1200">
          <a:solidFill>
            <a:schemeClr val="tx1"/>
          </a:solidFill>
          <a:latin typeface="+mn-lt"/>
          <a:ea typeface="+mn-ea"/>
          <a:cs typeface="+mn-cs"/>
        </a:defRPr>
      </a:lvl4pPr>
      <a:lvl5pPr marL="481157" indent="-158715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•"/>
        <a:defRPr sz="1403" kern="1200">
          <a:solidFill>
            <a:schemeClr val="tx1"/>
          </a:solidFill>
          <a:latin typeface="+mn-lt"/>
          <a:ea typeface="+mn-ea"/>
          <a:cs typeface="+mn-cs"/>
        </a:defRPr>
      </a:lvl5pPr>
      <a:lvl6pPr marL="641543" indent="-160386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–"/>
        <a:defRPr sz="1403" kern="1200">
          <a:solidFill>
            <a:schemeClr val="tx1"/>
          </a:solidFill>
          <a:latin typeface="+mn-lt"/>
          <a:ea typeface="+mn-ea"/>
          <a:cs typeface="+mn-cs"/>
        </a:defRPr>
      </a:lvl6pPr>
      <a:lvl7pPr marL="801929" indent="-160386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•"/>
        <a:defRPr sz="1403" kern="1200">
          <a:solidFill>
            <a:schemeClr val="tx1"/>
          </a:solidFill>
          <a:latin typeface="+mn-lt"/>
          <a:ea typeface="+mn-ea"/>
          <a:cs typeface="+mn-cs"/>
        </a:defRPr>
      </a:lvl7pPr>
      <a:lvl8pPr marL="962315" indent="-160386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–"/>
        <a:defRPr sz="1403" kern="1200">
          <a:solidFill>
            <a:schemeClr val="tx1"/>
          </a:solidFill>
          <a:latin typeface="+mn-lt"/>
          <a:ea typeface="+mn-ea"/>
          <a:cs typeface="+mn-cs"/>
        </a:defRPr>
      </a:lvl8pPr>
      <a:lvl9pPr marL="1122700" indent="-160386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•"/>
        <a:defRPr sz="14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1pPr>
      <a:lvl2pPr marL="400964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2pPr>
      <a:lvl3pPr marL="801929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3pPr>
      <a:lvl4pPr marL="1202893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4pPr>
      <a:lvl5pPr marL="1603858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5pPr>
      <a:lvl6pPr marL="2004822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6pPr>
      <a:lvl7pPr marL="2405786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7pPr>
      <a:lvl8pPr marL="2806751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8pPr>
      <a:lvl9pPr marL="3207715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996" userDrawn="1">
          <p15:clr>
            <a:srgbClr val="F26B43"/>
          </p15:clr>
        </p15:guide>
        <p15:guide id="2" pos="15936" userDrawn="1">
          <p15:clr>
            <a:srgbClr val="F26B43"/>
          </p15:clr>
        </p15:guide>
        <p15:guide id="5" orient="horz" pos="8754" userDrawn="1">
          <p15:clr>
            <a:srgbClr val="F26B43"/>
          </p15:clr>
        </p15:guide>
        <p15:guide id="13" orient="horz" pos="7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xmlns="" id="{5DE0C224-C755-55D6-6975-756702CCA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804863"/>
            <a:ext cx="23183850" cy="2922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xmlns="" id="{AEE21A46-6E42-8D04-EF7A-286DA98197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47850" y="4024313"/>
            <a:ext cx="23183850" cy="95932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7AB618AA-1FBC-7046-5AA7-F3396B9C36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47850" y="14012863"/>
            <a:ext cx="6048375" cy="8048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74FE7-8F61-46A7-9D5F-9893C799F64D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91A41338-E205-6151-BB57-53003A0DC8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04288" y="14012863"/>
            <a:ext cx="9070975" cy="8048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7BF8F9CD-CF4A-D926-AB50-403B027977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983325" y="14012863"/>
            <a:ext cx="6048375" cy="8048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6A32F4-F4E0-451B-8840-AC65A30661C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26755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xmlns="" id="{6A77CF7C-4EF1-8658-ED55-57206B1E2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804863"/>
            <a:ext cx="23183850" cy="2922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xmlns="" id="{588F14BE-D7C3-35A6-F279-DA91F03F9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47850" y="4024313"/>
            <a:ext cx="23183850" cy="95932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xmlns="" id="{1B0553ED-8265-BF73-6220-43EF15BEBF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47850" y="14012863"/>
            <a:ext cx="6048375" cy="8048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6BA6B1-BDF9-476A-915A-5CF1620740B5}" type="datetimeFigureOut">
              <a:rPr lang="pl-PL" smtClean="0"/>
              <a:t>29.09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xmlns="" id="{378C9F41-76EF-DBEF-0DA1-4E398DB121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04288" y="14012863"/>
            <a:ext cx="9070975" cy="8048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xmlns="" id="{34D2B16C-F08C-7F71-0164-3A3FB99EDC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983325" y="14012863"/>
            <a:ext cx="6048375" cy="8048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FC6231-5035-4BF3-AE99-2D9DBE5DFC1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92103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7" Type="http://schemas.openxmlformats.org/officeDocument/2006/relationships/slide" Target="slide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10" Type="http://schemas.openxmlformats.org/officeDocument/2006/relationships/image" Target="../media/image26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7" Type="http://schemas.openxmlformats.org/officeDocument/2006/relationships/slide" Target="slide2.xml"/><Relationship Id="rId12" Type="http://schemas.openxmlformats.org/officeDocument/2006/relationships/image" Target="../media/image10.sv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52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2.xml"/><Relationship Id="rId7" Type="http://schemas.openxmlformats.org/officeDocument/2006/relationships/slide" Target="slide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3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9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3.xml"/><Relationship Id="rId9" Type="http://schemas.openxmlformats.org/officeDocument/2006/relationships/slide" Target="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0.png"/><Relationship Id="rId12" Type="http://schemas.openxmlformats.org/officeDocument/2006/relationships/image" Target="../media/image16.sv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55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4.xml"/><Relationship Id="rId9" Type="http://schemas.openxmlformats.org/officeDocument/2006/relationships/slide" Target="slid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2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5.xml"/><Relationship Id="rId9" Type="http://schemas.openxmlformats.org/officeDocument/2006/relationships/slide" Target="slid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7" Type="http://schemas.openxmlformats.org/officeDocument/2006/relationships/slide" Target="slide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10" Type="http://schemas.openxmlformats.org/officeDocument/2006/relationships/image" Target="../media/image20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7.xml"/><Relationship Id="rId7" Type="http://schemas.openxmlformats.org/officeDocument/2006/relationships/hyperlink" Target="https://www.gov.pl/web/sluzbacywilna/prosty-jezyk2" TargetMode="Externa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8.bin"/><Relationship Id="rId10" Type="http://schemas.openxmlformats.org/officeDocument/2006/relationships/slide" Target="slide2.xml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slideLayout" Target="../slideLayouts/slideLayout17.xml"/><Relationship Id="rId7" Type="http://schemas.openxmlformats.org/officeDocument/2006/relationships/hyperlink" Target="https://wuozprzemysl.pl/" TargetMode="Externa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11" Type="http://schemas.openxmlformats.org/officeDocument/2006/relationships/image" Target="../media/image24.svg"/><Relationship Id="rId5" Type="http://schemas.openxmlformats.org/officeDocument/2006/relationships/oleObject" Target="../embeddings/oleObject59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A610465-4721-470C-8F4D-10E01687AE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536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4A610465-4721-470C-8F4D-10E01687A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FBBC8F1-A834-4B69-BCB4-52CCD4B41F17}"/>
              </a:ext>
            </a:extLst>
          </p:cNvPr>
          <p:cNvSpPr/>
          <p:nvPr/>
        </p:nvSpPr>
        <p:spPr>
          <a:xfrm>
            <a:off x="25298400" y="13896974"/>
            <a:ext cx="1581150" cy="12223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0B3F3F08-AA74-4B67-AA8F-FC844E1D5DAE}"/>
              </a:ext>
            </a:extLst>
          </p:cNvPr>
          <p:cNvSpPr txBox="1"/>
          <p:nvPr/>
        </p:nvSpPr>
        <p:spPr>
          <a:xfrm>
            <a:off x="1814830" y="6166278"/>
            <a:ext cx="15754350" cy="13467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pl-PL" sz="40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Obsługa klientów </a:t>
            </a:r>
            <a:br>
              <a:rPr lang="pl-PL" sz="40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</a:br>
            <a:r>
              <a:rPr lang="pl-PL" sz="40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ze szczególnymi potrzebami </a:t>
            </a:r>
            <a:endParaRPr lang="en-GB" sz="4000" dirty="0">
              <a:solidFill>
                <a:schemeClr val="bg1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4A5E6DF-F756-407B-AD59-2AF6E4CC250A}"/>
              </a:ext>
            </a:extLst>
          </p:cNvPr>
          <p:cNvSpPr txBox="1"/>
          <p:nvPr/>
        </p:nvSpPr>
        <p:spPr>
          <a:xfrm>
            <a:off x="1581150" y="9492450"/>
            <a:ext cx="1575435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5400" b="1" dirty="0">
                <a:solidFill>
                  <a:srgbClr val="FFB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jewódzki Urząd Ochrony Zabytków z/s w Przemyślu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6677FE86-AF8D-4E72-9360-40EC46E75176}"/>
              </a:ext>
            </a:extLst>
          </p:cNvPr>
          <p:cNvCxnSpPr>
            <a:cxnSpLocks/>
          </p:cNvCxnSpPr>
          <p:nvPr/>
        </p:nvCxnSpPr>
        <p:spPr>
          <a:xfrm>
            <a:off x="1581150" y="8588174"/>
            <a:ext cx="15754350" cy="63380"/>
          </a:xfrm>
          <a:prstGeom prst="line">
            <a:avLst/>
          </a:prstGeom>
          <a:ln w="1270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1728DE4-83F6-4A5A-A1F4-88B1FFDFCFC6}"/>
              </a:ext>
            </a:extLst>
          </p:cNvPr>
          <p:cNvSpPr/>
          <p:nvPr/>
        </p:nvSpPr>
        <p:spPr>
          <a:xfrm>
            <a:off x="0" y="0"/>
            <a:ext cx="1581150" cy="12223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7497529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18175CB3-1657-4833-BFA3-BF2A016FE5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18175CB3-1657-4833-BFA3-BF2A016FE5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3381DB0A-CBE6-409A-AB18-21D6F0D87C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368115" y="14420533"/>
            <a:ext cx="930285" cy="307777"/>
          </a:xfrm>
        </p:spPr>
        <p:txBody>
          <a:bodyPr/>
          <a:lstStyle/>
          <a:p>
            <a:fld id="{7870704B-CE94-48CC-AF30-84932A1262A7}" type="slidenum">
              <a:rPr lang="pl-PL" smtClean="0"/>
              <a:pPr/>
              <a:t>10</a:t>
            </a:fld>
            <a:endParaRPr lang="pl-PL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xmlns="" id="{09A41D67-D829-4774-A887-72BA190B73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81150" y="1242814"/>
            <a:ext cx="8875713" cy="677108"/>
          </a:xfrm>
        </p:spPr>
        <p:txBody>
          <a:bodyPr/>
          <a:lstStyle/>
          <a:p>
            <a:r>
              <a:rPr lang="pl-PL" b="1" dirty="0" smtClean="0"/>
              <a:t>Koordynator </a:t>
            </a:r>
            <a:r>
              <a:rPr lang="pl-PL" b="1" dirty="0"/>
              <a:t>dostępności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27FDF053-6C29-48D4-BFD6-12DEBD8F50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r>
              <a:rPr lang="pl-PL" sz="3200" dirty="0"/>
              <a:t>W naszym Urzędzie powołano koordynatora ds. dostępności.</a:t>
            </a:r>
          </a:p>
          <a:p>
            <a:pPr marL="0" indent="0">
              <a:buNone/>
            </a:pPr>
            <a:r>
              <a:rPr lang="pl-PL" sz="3200" dirty="0"/>
              <a:t>Koordynatorem dostępności jest </a:t>
            </a:r>
            <a:br>
              <a:rPr lang="pl-PL" sz="3200" dirty="0"/>
            </a:br>
            <a:r>
              <a:rPr lang="pl-PL" sz="3200" dirty="0"/>
              <a:t>pan Michał Sowa</a:t>
            </a:r>
          </a:p>
          <a:p>
            <a:pPr marL="0" indent="0">
              <a:buNone/>
            </a:pPr>
            <a:r>
              <a:rPr lang="pl-PL" sz="3200" dirty="0"/>
              <a:t>Jeśli masz pytania dotyczące dostępności zawsze możesz się do niej zwrócić:  </a:t>
            </a:r>
          </a:p>
          <a:p>
            <a:pPr marL="0" indent="0">
              <a:buNone/>
            </a:pPr>
            <a:r>
              <a:rPr lang="pl-PL" sz="3200" dirty="0"/>
              <a:t>centrala: 16 678 59 44, wewnętrzny: 35 </a:t>
            </a:r>
          </a:p>
          <a:p>
            <a:pPr marL="0" indent="0">
              <a:buNone/>
            </a:pPr>
            <a:r>
              <a:rPr lang="pl-PL" sz="3200" dirty="0"/>
              <a:t> e-mail: msowa@wuozprzemysl.pl</a:t>
            </a:r>
          </a:p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endParaRPr lang="pl-PL" sz="3200" dirty="0"/>
          </a:p>
        </p:txBody>
      </p:sp>
      <p:pic>
        <p:nvPicPr>
          <p:cNvPr id="9" name="Picture 8">
            <a:hlinkClick r:id="rId7" action="ppaction://hlinksldjump"/>
            <a:extLst>
              <a:ext uri="{FF2B5EF4-FFF2-40B4-BE49-F238E27FC236}">
                <a16:creationId xmlns:a16="http://schemas.microsoft.com/office/drawing/2014/main" xmlns="" id="{D68DB293-9015-433E-8F15-1E5C2DCE1E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798" y="213954"/>
            <a:ext cx="493819" cy="499915"/>
          </a:xfrm>
          <a:prstGeom prst="rect">
            <a:avLst/>
          </a:prstGeom>
        </p:spPr>
      </p:pic>
      <p:pic>
        <p:nvPicPr>
          <p:cNvPr id="10" name="Graphic 15">
            <a:extLst>
              <a:ext uri="{FF2B5EF4-FFF2-40B4-BE49-F238E27FC236}">
                <a16:creationId xmlns:a16="http://schemas.microsoft.com/office/drawing/2014/main" xmlns="" id="{2E626006-2BDC-4B3A-AD6E-8DFBF241A45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4306553" y="3022119"/>
            <a:ext cx="8588856" cy="8588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2554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38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A610465-4721-470C-8F4D-10E01687AE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4A610465-4721-470C-8F4D-10E01687A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FBBC8F1-A834-4B69-BCB4-52CCD4B41F17}"/>
              </a:ext>
            </a:extLst>
          </p:cNvPr>
          <p:cNvSpPr/>
          <p:nvPr/>
        </p:nvSpPr>
        <p:spPr>
          <a:xfrm>
            <a:off x="25298400" y="13896974"/>
            <a:ext cx="1581150" cy="12223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0B3F3F08-AA74-4B67-AA8F-FC844E1D5DAE}"/>
              </a:ext>
            </a:extLst>
          </p:cNvPr>
          <p:cNvSpPr txBox="1"/>
          <p:nvPr/>
        </p:nvSpPr>
        <p:spPr>
          <a:xfrm>
            <a:off x="1581150" y="6640894"/>
            <a:ext cx="19887372" cy="6430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pl-PL" sz="40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Tworząc świat dostępniejszym tworzysz go lepszym także dla siebie!</a:t>
            </a:r>
            <a:endParaRPr lang="en-GB" sz="4000" dirty="0">
              <a:solidFill>
                <a:schemeClr val="bg1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4A5E6DF-F756-407B-AD59-2AF6E4CC250A}"/>
              </a:ext>
            </a:extLst>
          </p:cNvPr>
          <p:cNvSpPr txBox="1"/>
          <p:nvPr/>
        </p:nvSpPr>
        <p:spPr>
          <a:xfrm>
            <a:off x="1581150" y="9138763"/>
            <a:ext cx="1575435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5400" b="1" dirty="0">
                <a:solidFill>
                  <a:srgbClr val="FAB41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jewódzki Urząd Ochrony Zabytków z/s w Przemyślu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6677FE86-AF8D-4E72-9360-40EC46E75176}"/>
              </a:ext>
            </a:extLst>
          </p:cNvPr>
          <p:cNvCxnSpPr>
            <a:cxnSpLocks/>
          </p:cNvCxnSpPr>
          <p:nvPr/>
        </p:nvCxnSpPr>
        <p:spPr>
          <a:xfrm>
            <a:off x="1581150" y="8588174"/>
            <a:ext cx="15754350" cy="63380"/>
          </a:xfrm>
          <a:prstGeom prst="line">
            <a:avLst/>
          </a:prstGeom>
          <a:ln w="1270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1728DE4-83F6-4A5A-A1F4-88B1FFDFCFC6}"/>
              </a:ext>
            </a:extLst>
          </p:cNvPr>
          <p:cNvSpPr/>
          <p:nvPr/>
        </p:nvSpPr>
        <p:spPr>
          <a:xfrm>
            <a:off x="0" y="0"/>
            <a:ext cx="1581150" cy="12223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426274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5A54834-660A-4BEF-A3E0-75155E813D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45A54834-660A-4BEF-A3E0-75155E813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xmlns="" id="{FE346633-196D-4ADC-9C3B-6701E70867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368115" y="14420533"/>
            <a:ext cx="930285" cy="307777"/>
          </a:xfrm>
        </p:spPr>
        <p:txBody>
          <a:bodyPr lIns="0" tIns="0" rIns="0" bIns="0">
            <a:spAutoFit/>
          </a:bodyPr>
          <a:lstStyle>
            <a:lvl1pPr algn="r">
              <a:defRPr sz="2000"/>
            </a:lvl1pPr>
          </a:lstStyle>
          <a:p>
            <a:fld id="{7870704B-CE94-48CC-AF30-84932A1262A7}" type="slidenum">
              <a:rPr lang="pl-PL" smtClean="0"/>
              <a:pPr/>
              <a:t>2</a:t>
            </a:fld>
            <a:endParaRPr lang="pl-PL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EC391016-02A0-4AFD-B143-AAB3BF01AA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34698" y="2196084"/>
            <a:ext cx="8875713" cy="677108"/>
          </a:xfrm>
        </p:spPr>
        <p:txBody>
          <a:bodyPr/>
          <a:lstStyle/>
          <a:p>
            <a:r>
              <a:rPr lang="pl-PL" dirty="0"/>
              <a:t>Dostępność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3F6852BC-2BD7-435B-BD99-4A413561A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5617" y="3536036"/>
            <a:ext cx="9908160" cy="6858906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endParaRPr lang="pl-PL" sz="3200" dirty="0"/>
          </a:p>
          <a:p>
            <a:pPr marL="0" indent="0">
              <a:lnSpc>
                <a:spcPct val="150000"/>
              </a:lnSpc>
              <a:buNone/>
            </a:pPr>
            <a:r>
              <a:rPr lang="pl-PL" sz="3200" dirty="0"/>
              <a:t>Nasz Urząd dokłada wszelkich starań, aby być dostępnym dla osób ze szczególnymi potrzebami. </a:t>
            </a:r>
          </a:p>
          <a:p>
            <a:pPr marL="0" indent="0">
              <a:lnSpc>
                <a:spcPct val="150000"/>
              </a:lnSpc>
              <a:buNone/>
            </a:pPr>
            <a:endParaRPr lang="pl-PL" sz="3200" dirty="0"/>
          </a:p>
          <a:p>
            <a:pPr marL="0" indent="0">
              <a:lnSpc>
                <a:spcPct val="150000"/>
              </a:lnSpc>
              <a:buNone/>
            </a:pPr>
            <a:r>
              <a:rPr lang="pl-PL" sz="3200" dirty="0"/>
              <a:t>Zgodnie z Ustawą o zapewnianiu dostępności osobom ze szczególnymi potrzebami każdy może mieć szczególne potrzeby na jakimś etapie życia lub </a:t>
            </a:r>
            <a:br>
              <a:rPr lang="pl-PL" sz="3200" dirty="0"/>
            </a:br>
            <a:r>
              <a:rPr lang="pl-PL" sz="3200" dirty="0"/>
              <a:t>w konkretnej sytuacji.</a:t>
            </a:r>
          </a:p>
        </p:txBody>
      </p:sp>
      <p:pic>
        <p:nvPicPr>
          <p:cNvPr id="42" name="Picture 41">
            <a:hlinkClick r:id="rId7" action="ppaction://hlinksldjump"/>
            <a:extLst>
              <a:ext uri="{FF2B5EF4-FFF2-40B4-BE49-F238E27FC236}">
                <a16:creationId xmlns:a16="http://schemas.microsoft.com/office/drawing/2014/main" xmlns="" id="{85F1514A-A750-4838-87B1-C1F7E4A030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798" y="213954"/>
            <a:ext cx="493819" cy="499915"/>
          </a:xfrm>
          <a:prstGeom prst="rect">
            <a:avLst/>
          </a:prstGeom>
        </p:spPr>
      </p:pic>
      <p:pic>
        <p:nvPicPr>
          <p:cNvPr id="8" name="Graphic 35">
            <a:extLst>
              <a:ext uri="{FF2B5EF4-FFF2-40B4-BE49-F238E27FC236}">
                <a16:creationId xmlns:a16="http://schemas.microsoft.com/office/drawing/2014/main" xmlns="" id="{6049AFE7-5CB4-4E1B-A18D-D280AE91B9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7890129" y="7222618"/>
            <a:ext cx="7408272" cy="7411398"/>
          </a:xfrm>
          <a:prstGeom prst="rect">
            <a:avLst/>
          </a:prstGeom>
        </p:spPr>
      </p:pic>
      <p:pic>
        <p:nvPicPr>
          <p:cNvPr id="10" name="Graphic 3">
            <a:extLst>
              <a:ext uri="{FF2B5EF4-FFF2-40B4-BE49-F238E27FC236}">
                <a16:creationId xmlns:a16="http://schemas.microsoft.com/office/drawing/2014/main" xmlns="" id="{4993EA03-FA8A-469A-AFBA-498E804EE67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2170159" y="1056741"/>
            <a:ext cx="7408272" cy="741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476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5A54834-660A-4BEF-A3E0-75155E813D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45A54834-660A-4BEF-A3E0-75155E813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xmlns="" id="{FE346633-196D-4ADC-9C3B-6701E70867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lIns="0" tIns="0" rIns="0" bIns="0">
            <a:spAutoFit/>
          </a:bodyPr>
          <a:lstStyle>
            <a:lvl1pPr algn="r">
              <a:defRPr sz="2000"/>
            </a:lvl1pPr>
          </a:lstStyle>
          <a:p>
            <a:fld id="{7870704B-CE94-48CC-AF30-84932A1262A7}" type="slidenum">
              <a:rPr lang="pl-PL" smtClean="0"/>
              <a:pPr/>
              <a:t>3</a:t>
            </a:fld>
            <a:endParaRPr lang="pl-P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3F6852BC-2BD7-435B-BD99-4A413561A65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170809" y="814088"/>
            <a:ext cx="18071348" cy="13061231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pl-PL" sz="3200" b="0" dirty="0">
                <a:solidFill>
                  <a:schemeClr val="accent6"/>
                </a:solidFill>
              </a:rPr>
              <a:t>Wśród </a:t>
            </a:r>
            <a:r>
              <a:rPr lang="pl-PL" sz="3200" dirty="0">
                <a:solidFill>
                  <a:schemeClr val="accent6"/>
                </a:solidFill>
              </a:rPr>
              <a:t>osób ze szczególnymi potrzebami</a:t>
            </a:r>
            <a:r>
              <a:rPr lang="pl-PL" sz="3200" b="0" dirty="0">
                <a:solidFill>
                  <a:schemeClr val="accent6"/>
                </a:solidFill>
              </a:rPr>
              <a:t> można wyróżnić osoby:</a:t>
            </a:r>
          </a:p>
          <a:p>
            <a:pPr marL="0" indent="0">
              <a:lnSpc>
                <a:spcPct val="150000"/>
              </a:lnSpc>
              <a:buNone/>
            </a:pPr>
            <a:endParaRPr lang="pl-PL" sz="3200" b="0" dirty="0">
              <a:solidFill>
                <a:schemeClr val="accent6"/>
              </a:solidFill>
            </a:endParaRP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poruszające się za pomocą wózków, o kulach, o ograniczonej możliwości poruszania się,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niewidome i słabowidzące,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z niepełnosprawnością słuchu,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głuchoniewidome – z jednoczesnym uszkodzeniem wzroku i słuchu,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z zaburzeniami psychicznymi,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z niepełnosprawnością intelektualną/ deficytami poznawczymi,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mające trudności w komunikowaniu się</a:t>
            </a:r>
            <a:br>
              <a:rPr lang="pl-PL" sz="3200" b="0" dirty="0">
                <a:solidFill>
                  <a:schemeClr val="accent6"/>
                </a:solidFill>
              </a:rPr>
            </a:br>
            <a:r>
              <a:rPr lang="pl-PL" sz="3200" b="0" dirty="0">
                <a:solidFill>
                  <a:schemeClr val="accent6"/>
                </a:solidFill>
              </a:rPr>
              <a:t>z otoczeniem (także z rozumieniem języka pisanego lub mówionego),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o nietypowym wzroście  (np. osoby niskorosłe),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starsze, u których szczególne potrzeby pojawiły się wraz z wiekiem,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kobiety w ciąży,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3200" b="0" dirty="0">
                <a:solidFill>
                  <a:schemeClr val="accent6"/>
                </a:solidFill>
              </a:rPr>
              <a:t>z małymi dziećmi, w tym z wózkami dziecięcymi. </a:t>
            </a:r>
          </a:p>
          <a:p>
            <a:pPr>
              <a:lnSpc>
                <a:spcPct val="150000"/>
              </a:lnSpc>
            </a:pPr>
            <a:endParaRPr lang="pl-PL" sz="3200" b="0" dirty="0">
              <a:solidFill>
                <a:schemeClr val="accent6"/>
              </a:solidFill>
            </a:endParaRPr>
          </a:p>
        </p:txBody>
      </p:sp>
      <p:pic>
        <p:nvPicPr>
          <p:cNvPr id="42" name="Picture 41">
            <a:hlinkClick r:id="rId7" action="ppaction://hlinksldjump"/>
            <a:extLst>
              <a:ext uri="{FF2B5EF4-FFF2-40B4-BE49-F238E27FC236}">
                <a16:creationId xmlns:a16="http://schemas.microsoft.com/office/drawing/2014/main" xmlns="" id="{85F1514A-A750-4838-87B1-C1F7E4A030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798" y="213954"/>
            <a:ext cx="493819" cy="499915"/>
          </a:xfrm>
          <a:prstGeom prst="rect">
            <a:avLst/>
          </a:prstGeom>
        </p:spPr>
      </p:pic>
      <p:pic>
        <p:nvPicPr>
          <p:cNvPr id="10" name="Graphic 35">
            <a:extLst>
              <a:ext uri="{FF2B5EF4-FFF2-40B4-BE49-F238E27FC236}">
                <a16:creationId xmlns:a16="http://schemas.microsoft.com/office/drawing/2014/main" xmlns="" id="{6049AFE7-5CB4-4E1B-A18D-D280AE91B9E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 l="5554" r="5554"/>
          <a:stretch>
            <a:fillRect/>
          </a:stretch>
        </p:blipFill>
        <p:spPr>
          <a:xfrm>
            <a:off x="17535789" y="3673200"/>
            <a:ext cx="7436995" cy="83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8717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5A54834-660A-4BEF-A3E0-75155E813D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6887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45A54834-660A-4BEF-A3E0-75155E813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xmlns="" id="{FE346633-196D-4ADC-9C3B-6701E70867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368115" y="14420533"/>
            <a:ext cx="930285" cy="307777"/>
          </a:xfrm>
        </p:spPr>
        <p:txBody>
          <a:bodyPr lIns="0" tIns="0" rIns="0" bIns="0">
            <a:spAutoFit/>
          </a:bodyPr>
          <a:lstStyle>
            <a:lvl1pPr algn="r">
              <a:defRPr sz="2000"/>
            </a:lvl1pPr>
          </a:lstStyle>
          <a:p>
            <a:fld id="{7870704B-CE94-48CC-AF30-84932A1262A7}" type="slidenum">
              <a:rPr lang="pl-PL" smtClean="0"/>
              <a:pPr/>
              <a:t>4</a:t>
            </a:fld>
            <a:endParaRPr lang="pl-PL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EC391016-02A0-4AFD-B143-AAB3BF01AA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81150" y="1242814"/>
            <a:ext cx="8875713" cy="677108"/>
          </a:xfrm>
        </p:spPr>
        <p:txBody>
          <a:bodyPr/>
          <a:lstStyle/>
          <a:p>
            <a:r>
              <a:rPr lang="pl-PL" b="1" dirty="0"/>
              <a:t>Lokalizacja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3F6852BC-2BD7-435B-BD99-4A413561A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707" y="2718012"/>
            <a:ext cx="10379775" cy="11702521"/>
          </a:xfrm>
        </p:spPr>
        <p:txBody>
          <a:bodyPr/>
          <a:lstStyle/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r>
              <a:rPr lang="pl-PL" sz="3200" dirty="0"/>
              <a:t>Nasz Urząd jest dobrze zlokalizowany i można łatwo dostać się do niego środkami komunikacji zbiorowej, jak </a:t>
            </a:r>
            <a:br>
              <a:rPr lang="pl-PL" sz="3200" dirty="0"/>
            </a:br>
            <a:r>
              <a:rPr lang="pl-PL" sz="3200" dirty="0"/>
              <a:t>i prywatnej. </a:t>
            </a:r>
          </a:p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r>
              <a:rPr lang="pl-PL" sz="3200" dirty="0"/>
              <a:t>Dojazd do budynku </a:t>
            </a:r>
            <a:r>
              <a:rPr lang="pl-PL" sz="3200" dirty="0">
                <a:cs typeface="Calibri" panose="020F0502020204030204" pitchFamily="34" charset="0"/>
              </a:rPr>
              <a:t>Wojewódzkiego Urzędu Ochrony Zabytków z/s w Przemyślu</a:t>
            </a:r>
          </a:p>
          <a:p>
            <a:pPr marL="0" indent="0">
              <a:buNone/>
            </a:pPr>
            <a:r>
              <a:rPr lang="pl-PL" sz="3200" dirty="0"/>
              <a:t>komunikacją miejską: </a:t>
            </a:r>
          </a:p>
          <a:p>
            <a:pPr marL="0" indent="0">
              <a:buNone/>
            </a:pPr>
            <a:r>
              <a:rPr lang="pl-PL" sz="3200" dirty="0"/>
              <a:t>Budynek Urzędu znajduje się w przy ul. Jagiellońskiej 29 w Przemyślu.</a:t>
            </a:r>
          </a:p>
          <a:p>
            <a:pPr marL="0" indent="0">
              <a:buNone/>
            </a:pPr>
            <a:r>
              <a:rPr lang="pl-PL" sz="3200" dirty="0"/>
              <a:t>Do Urzędu można dojechać samochodem lub środkami komunikacji publicznej, przystanek: Jagiellońska Pl. Rybi</a:t>
            </a:r>
          </a:p>
          <a:p>
            <a:pPr marL="0" indent="0">
              <a:buNone/>
            </a:pPr>
            <a:r>
              <a:rPr lang="pl-PL" sz="3200" dirty="0"/>
              <a:t>Autobusami linii nr: 01,1,02,2,3,4,5,8,11,12,14,16,17,18,20,21,22,23,25,28,32,34</a:t>
            </a:r>
          </a:p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endParaRPr lang="pl-PL" sz="3200" dirty="0"/>
          </a:p>
        </p:txBody>
      </p:sp>
      <p:pic>
        <p:nvPicPr>
          <p:cNvPr id="214" name="Graphic 213">
            <a:extLst>
              <a:ext uri="{FF2B5EF4-FFF2-40B4-BE49-F238E27FC236}">
                <a16:creationId xmlns:a16="http://schemas.microsoft.com/office/drawing/2014/main" xmlns="" id="{05DF43A8-549A-4E86-A44F-45608E8874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3439775" y="3059674"/>
            <a:ext cx="10379775" cy="10379775"/>
          </a:xfrm>
          <a:prstGeom prst="rect">
            <a:avLst/>
          </a:prstGeom>
        </p:spPr>
      </p:pic>
      <p:pic>
        <p:nvPicPr>
          <p:cNvPr id="42" name="Picture 41">
            <a:hlinkClick r:id="rId9" action="ppaction://hlinksldjump"/>
            <a:extLst>
              <a:ext uri="{FF2B5EF4-FFF2-40B4-BE49-F238E27FC236}">
                <a16:creationId xmlns:a16="http://schemas.microsoft.com/office/drawing/2014/main" xmlns="" id="{85F1514A-A750-4838-87B1-C1F7E4A030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1798" y="213954"/>
            <a:ext cx="493819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2790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4E8E543-B989-4BC3-B5AF-88880FFBF0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645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94E8E543-B989-4BC3-B5AF-88880FFBF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D83194-E48D-4AA9-805B-8F3B666198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368115" y="14420533"/>
            <a:ext cx="930285" cy="307777"/>
          </a:xfrm>
        </p:spPr>
        <p:txBody>
          <a:bodyPr/>
          <a:lstStyle/>
          <a:p>
            <a:fld id="{7870704B-CE94-48CC-AF30-84932A1262A7}" type="slidenum">
              <a:rPr lang="pl-PL" smtClean="0"/>
              <a:pPr/>
              <a:t>5</a:t>
            </a:fld>
            <a:endParaRPr lang="pl-PL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F1102988-05F1-41E8-87B7-12703A7B29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81150" y="1879591"/>
            <a:ext cx="8875713" cy="677108"/>
          </a:xfrm>
        </p:spPr>
        <p:txBody>
          <a:bodyPr/>
          <a:lstStyle/>
          <a:p>
            <a:r>
              <a:rPr lang="pl-PL" b="1" dirty="0">
                <a:latin typeface="+mn-lt"/>
              </a:rPr>
              <a:t>Parking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9A6AC6FB-41F9-450D-B715-04E1B62681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4113" y="2757769"/>
            <a:ext cx="10168322" cy="3516096"/>
          </a:xfrm>
        </p:spPr>
        <p:txBody>
          <a:bodyPr/>
          <a:lstStyle/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r>
              <a:rPr lang="pl-PL" sz="3200" dirty="0"/>
              <a:t>Za budynkiem i szlabanem </a:t>
            </a:r>
            <a:r>
              <a:rPr lang="pl-PL" sz="3200" dirty="0" smtClean="0"/>
              <a:t>znajdują </a:t>
            </a:r>
            <a:r>
              <a:rPr lang="pl-PL" sz="3200" dirty="0"/>
              <a:t>się </a:t>
            </a:r>
            <a:r>
              <a:rPr lang="pl-PL" sz="3200" dirty="0" smtClean="0"/>
              <a:t>miejsca </a:t>
            </a:r>
            <a:r>
              <a:rPr lang="pl-PL" sz="3200" dirty="0"/>
              <a:t>parkingowe oraz jest wyznaczone jedno miejsce parkingowe dla osób z niepełnosprawnością. </a:t>
            </a:r>
          </a:p>
          <a:p>
            <a:pPr marL="0" indent="0">
              <a:buNone/>
            </a:pPr>
            <a:endParaRPr lang="pl-PL" sz="3200" dirty="0"/>
          </a:p>
        </p:txBody>
      </p:sp>
      <p:pic>
        <p:nvPicPr>
          <p:cNvPr id="135" name="Graphic 134">
            <a:extLst>
              <a:ext uri="{FF2B5EF4-FFF2-40B4-BE49-F238E27FC236}">
                <a16:creationId xmlns:a16="http://schemas.microsoft.com/office/drawing/2014/main" xmlns="" id="{813B8017-9696-48AA-91EE-1124D7D443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320976" y="-1015368"/>
            <a:ext cx="9000000" cy="9000000"/>
          </a:xfrm>
          <a:prstGeom prst="rect">
            <a:avLst/>
          </a:prstGeom>
        </p:spPr>
      </p:pic>
      <p:pic>
        <p:nvPicPr>
          <p:cNvPr id="28" name="Picture 27">
            <a:hlinkClick r:id="rId9" action="ppaction://hlinksldjump"/>
            <a:extLst>
              <a:ext uri="{FF2B5EF4-FFF2-40B4-BE49-F238E27FC236}">
                <a16:creationId xmlns:a16="http://schemas.microsoft.com/office/drawing/2014/main" xmlns="" id="{FCF4FD9F-27E6-4631-8983-9C173B68A0B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1798" y="213954"/>
            <a:ext cx="493819" cy="499915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xmlns="" id="{09A41D67-D829-4774-A887-72BA190B738F}"/>
              </a:ext>
            </a:extLst>
          </p:cNvPr>
          <p:cNvSpPr txBox="1">
            <a:spLocks/>
          </p:cNvSpPr>
          <p:nvPr/>
        </p:nvSpPr>
        <p:spPr>
          <a:xfrm>
            <a:off x="1581150" y="6474935"/>
            <a:ext cx="8875713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52"/>
              </a:spcAft>
              <a:buFont typeface="Arial" panose="020B0604020202020204" pitchFamily="34" charset="0"/>
              <a:buNone/>
              <a:defRPr sz="4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None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8715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7430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1157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1543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01929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62315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22700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latin typeface="+mn-lt"/>
              </a:rPr>
              <a:t>Pies asystujący</a:t>
            </a:r>
          </a:p>
        </p:txBody>
      </p:sp>
      <p:sp>
        <p:nvSpPr>
          <p:cNvPr id="9" name="Text Placeholder 22">
            <a:extLst>
              <a:ext uri="{FF2B5EF4-FFF2-40B4-BE49-F238E27FC236}">
                <a16:creationId xmlns:a16="http://schemas.microsoft.com/office/drawing/2014/main" xmlns="" id="{27FDF053-6C29-48D4-BFD6-12DEBD8F50CE}"/>
              </a:ext>
            </a:extLst>
          </p:cNvPr>
          <p:cNvSpPr txBox="1">
            <a:spLocks/>
          </p:cNvSpPr>
          <p:nvPr/>
        </p:nvSpPr>
        <p:spPr>
          <a:xfrm>
            <a:off x="715617" y="7984632"/>
            <a:ext cx="10665278" cy="2126973"/>
          </a:xfrm>
          <a:prstGeom prst="rect">
            <a:avLst/>
          </a:prstGeom>
        </p:spPr>
        <p:txBody>
          <a:bodyPr lIns="0" tIns="0" rIns="0" bIns="0"/>
          <a:lstStyle>
            <a:lvl1pPr marL="540000" indent="-540000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Font typeface="Arial" panose="020B0604020202020204" pitchFamily="34" charset="0"/>
              <a:buChar char="•"/>
              <a:defRPr sz="3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None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8715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7430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1157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1543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01929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62315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22700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3200" dirty="0"/>
              <a:t>Do naszego Urzędu można wejść z psem asystującym / psem przewodnikiem. </a:t>
            </a:r>
          </a:p>
        </p:txBody>
      </p:sp>
      <p:pic>
        <p:nvPicPr>
          <p:cNvPr id="10" name="Graphic 25">
            <a:extLst>
              <a:ext uri="{FF2B5EF4-FFF2-40B4-BE49-F238E27FC236}">
                <a16:creationId xmlns:a16="http://schemas.microsoft.com/office/drawing/2014/main" xmlns="" id="{87980B0B-0168-4A05-A67F-5D1AF005319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8426596" y="6273865"/>
            <a:ext cx="8452954" cy="845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9984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29972E21-9B46-4761-BDA8-B110B2AA55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29972E21-9B46-4761-BDA8-B110B2AA5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3381DB0A-CBE6-409A-AB18-21D6F0D87C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368115" y="14420533"/>
            <a:ext cx="930285" cy="307777"/>
          </a:xfrm>
        </p:spPr>
        <p:txBody>
          <a:bodyPr/>
          <a:lstStyle/>
          <a:p>
            <a:fld id="{7870704B-CE94-48CC-AF30-84932A1262A7}" type="slidenum">
              <a:rPr lang="pl-PL" smtClean="0"/>
              <a:pPr/>
              <a:t>6</a:t>
            </a:fld>
            <a:endParaRPr lang="pl-PL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2D298430-C27A-47C2-AADB-DF21FC27B3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81150" y="1242814"/>
            <a:ext cx="8875713" cy="677108"/>
          </a:xfrm>
        </p:spPr>
        <p:txBody>
          <a:bodyPr/>
          <a:lstStyle/>
          <a:p>
            <a:r>
              <a:rPr lang="pl-PL" b="1" dirty="0">
                <a:latin typeface="+mn-lt"/>
              </a:rPr>
              <a:t>Recepcja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xmlns="" id="{09A41D67-D829-4774-A887-72BA190B73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4802" y="2718012"/>
            <a:ext cx="10007876" cy="11702521"/>
          </a:xfrm>
        </p:spPr>
        <p:txBody>
          <a:bodyPr/>
          <a:lstStyle/>
          <a:p>
            <a:pPr marL="0" indent="0">
              <a:buNone/>
            </a:pPr>
            <a:r>
              <a:rPr lang="pl-PL" sz="3200" dirty="0"/>
              <a:t>W naszym Urzędzie pracownicy sekretariatu kierują klientów do odpowiedniego stanowiska lub odpowiedniej osoby w celu załatwienia sprawy.</a:t>
            </a:r>
          </a:p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r>
              <a:rPr lang="pl-PL" sz="3200" dirty="0"/>
              <a:t>W naszym Urzędzie pracownicy sekretariatu są przygotowani, aby udzielać niezbędnego wsparcia osobom ze szczególnymi potrzebami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8DCA5560-7AC9-4630-9721-6AFDA66BAB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4819312" y="3059113"/>
            <a:ext cx="8999538" cy="9001125"/>
          </a:xfrm>
          <a:prstGeom prst="rect">
            <a:avLst/>
          </a:prstGeom>
        </p:spPr>
      </p:pic>
      <p:pic>
        <p:nvPicPr>
          <p:cNvPr id="25" name="Picture 24">
            <a:hlinkClick r:id="rId9" action="ppaction://hlinksldjump"/>
            <a:extLst>
              <a:ext uri="{FF2B5EF4-FFF2-40B4-BE49-F238E27FC236}">
                <a16:creationId xmlns:a16="http://schemas.microsoft.com/office/drawing/2014/main" xmlns="" id="{84CE0679-33E0-451F-9995-5AA7E60859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1798" y="213954"/>
            <a:ext cx="493819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165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B75F11BE-A291-4B90-B728-F5BF21D5F6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577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B75F11BE-A291-4B90-B728-F5BF21D5F6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3381DB0A-CBE6-409A-AB18-21D6F0D87C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368115" y="14420533"/>
            <a:ext cx="930285" cy="307777"/>
          </a:xfrm>
        </p:spPr>
        <p:txBody>
          <a:bodyPr/>
          <a:lstStyle/>
          <a:p>
            <a:fld id="{7870704B-CE94-48CC-AF30-84932A1262A7}" type="slidenum">
              <a:rPr lang="pl-PL" smtClean="0"/>
              <a:pPr/>
              <a:t>7</a:t>
            </a:fld>
            <a:endParaRPr lang="pl-PL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xmlns="" id="{09A41D67-D829-4774-A887-72BA190B73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7848" y="3583068"/>
            <a:ext cx="8875713" cy="4865193"/>
          </a:xfrm>
        </p:spPr>
        <p:txBody>
          <a:bodyPr/>
          <a:lstStyle/>
          <a:p>
            <a:pPr marL="0" indent="0">
              <a:buNone/>
            </a:pPr>
            <a:r>
              <a:rPr lang="pl-PL" sz="3200" dirty="0"/>
              <a:t>W naszym Urzędzie:</a:t>
            </a:r>
          </a:p>
          <a:p>
            <a:r>
              <a:rPr lang="pl-PL" sz="3200" dirty="0"/>
              <a:t>Jesteśmy kompetentni</a:t>
            </a:r>
          </a:p>
          <a:p>
            <a:r>
              <a:rPr lang="pl-PL" sz="3200" dirty="0"/>
              <a:t>Pracownicy budzą zaufanie,</a:t>
            </a:r>
          </a:p>
          <a:p>
            <a:r>
              <a:rPr lang="pl-PL" sz="3200" dirty="0"/>
              <a:t>Jesteśmy życzliwi i wspieramy naszych klientów w załatwianiu spraw.</a:t>
            </a:r>
          </a:p>
        </p:txBody>
      </p:sp>
      <p:pic>
        <p:nvPicPr>
          <p:cNvPr id="25" name="Picture 24">
            <a:hlinkClick r:id="rId7" action="ppaction://hlinksldjump"/>
            <a:extLst>
              <a:ext uri="{FF2B5EF4-FFF2-40B4-BE49-F238E27FC236}">
                <a16:creationId xmlns:a16="http://schemas.microsoft.com/office/drawing/2014/main" xmlns="" id="{1A9B7816-C98D-495F-9048-3D325640FDB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798" y="213954"/>
            <a:ext cx="493819" cy="499915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09A41D67-D829-4774-A887-72BA190B738F}"/>
              </a:ext>
            </a:extLst>
          </p:cNvPr>
          <p:cNvSpPr txBox="1">
            <a:spLocks/>
          </p:cNvSpPr>
          <p:nvPr/>
        </p:nvSpPr>
        <p:spPr>
          <a:xfrm>
            <a:off x="1346752" y="9268089"/>
            <a:ext cx="8875713" cy="11702521"/>
          </a:xfrm>
          <a:prstGeom prst="rect">
            <a:avLst/>
          </a:prstGeom>
        </p:spPr>
        <p:txBody>
          <a:bodyPr lIns="0" tIns="0" rIns="0" bIns="0"/>
          <a:lstStyle>
            <a:lvl1pPr marL="540000" indent="-540000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Font typeface="Arial" panose="020B0604020202020204" pitchFamily="34" charset="0"/>
              <a:buChar char="•"/>
              <a:defRPr sz="3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None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8715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7430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1157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1543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01929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62315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22700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3200" dirty="0"/>
              <a:t>W naszym Urzędzie:</a:t>
            </a:r>
          </a:p>
          <a:p>
            <a:r>
              <a:rPr lang="pl-PL" sz="3200" dirty="0"/>
              <a:t>Stosujemy indywidualne podejście do klienta,</a:t>
            </a:r>
          </a:p>
          <a:p>
            <a:r>
              <a:rPr lang="pl-PL" sz="3200" dirty="0"/>
              <a:t>Dobro klienta jest dla nas celem nadrzędnym.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xmlns="" id="{D6F3E35B-4EDA-4D87-A1AC-64039EAC5EC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5210250" y="3108104"/>
            <a:ext cx="8999538" cy="9001125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xmlns="" id="{6FE3FD6B-B42B-4D4A-AA0F-FA915D0A33FD}"/>
              </a:ext>
            </a:extLst>
          </p:cNvPr>
          <p:cNvSpPr txBox="1">
            <a:spLocks/>
          </p:cNvSpPr>
          <p:nvPr/>
        </p:nvSpPr>
        <p:spPr>
          <a:xfrm>
            <a:off x="1346752" y="1709129"/>
            <a:ext cx="8875713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52"/>
              </a:spcAft>
              <a:buFont typeface="Arial" panose="020B0604020202020204" pitchFamily="34" charset="0"/>
              <a:buNone/>
              <a:defRPr sz="4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None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8715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7430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1157" indent="-158715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1543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01929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62315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–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22700" indent="-160386" algn="l" defTabSz="8019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Font typeface="Arial" panose="020B0604020202020204" pitchFamily="34" charset="0"/>
              <a:buChar char="•"/>
              <a:defRPr sz="14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/>
              <a:t>Zasady obsługi klienta</a:t>
            </a:r>
          </a:p>
        </p:txBody>
      </p:sp>
    </p:spTree>
    <p:extLst>
      <p:ext uri="{BB962C8B-B14F-4D97-AF65-F5344CB8AC3E}">
        <p14:creationId xmlns:p14="http://schemas.microsoft.com/office/powerpoint/2010/main" val="10489470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2350694-EFD1-4EB3-8294-ABB2410AC8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6459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F2350694-EFD1-4EB3-8294-ABB2410AC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3381DB0A-CBE6-409A-AB18-21D6F0D87C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368115" y="14420533"/>
            <a:ext cx="930285" cy="307777"/>
          </a:xfrm>
        </p:spPr>
        <p:txBody>
          <a:bodyPr/>
          <a:lstStyle/>
          <a:p>
            <a:fld id="{7870704B-CE94-48CC-AF30-84932A1262A7}" type="slidenum">
              <a:rPr lang="pl-PL" smtClean="0"/>
              <a:pPr/>
              <a:t>8</a:t>
            </a:fld>
            <a:endParaRPr lang="pl-PL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E9D0CF66-93B5-4455-99FD-473EC032E8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81150" y="1242814"/>
            <a:ext cx="8875713" cy="677108"/>
          </a:xfrm>
        </p:spPr>
        <p:txBody>
          <a:bodyPr/>
          <a:lstStyle/>
          <a:p>
            <a:r>
              <a:rPr lang="pl-PL" b="1" dirty="0"/>
              <a:t>Materiały informacyjn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xmlns="" id="{09A41D67-D829-4774-A887-72BA190B73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5618" y="2464904"/>
            <a:ext cx="9741246" cy="11702521"/>
          </a:xfrm>
        </p:spPr>
        <p:txBody>
          <a:bodyPr/>
          <a:lstStyle/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r>
              <a:rPr lang="pl-PL" sz="3200" dirty="0"/>
              <a:t>W naszym Urzędzie staramy się, aby wszystkie materiały były pisane językiem łatwym tak, aby każdy mógł się z nimi zapoznać i zrozumieć ich treść.</a:t>
            </a:r>
          </a:p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r>
              <a:rPr lang="pl-PL" sz="3200" dirty="0"/>
              <a:t>O tym jak pisać językiem prostym możesz dowiedzieć się tutaj: </a:t>
            </a:r>
            <a:r>
              <a:rPr lang="pl-PL" sz="3200" dirty="0">
                <a:hlinkClick r:id="rId7"/>
              </a:rPr>
              <a:t>strona www Szefa Służby Cywilnej o języku prostym</a:t>
            </a:r>
            <a:endParaRPr lang="pl-PL" sz="3200" dirty="0"/>
          </a:p>
        </p:txBody>
      </p:sp>
      <p:pic>
        <p:nvPicPr>
          <p:cNvPr id="89" name="Graphic 88">
            <a:extLst>
              <a:ext uri="{FF2B5EF4-FFF2-40B4-BE49-F238E27FC236}">
                <a16:creationId xmlns:a16="http://schemas.microsoft.com/office/drawing/2014/main" xmlns="" id="{975B82CE-804C-43EE-93F2-CEFDC5B6EC1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4819550" y="3059675"/>
            <a:ext cx="9000000" cy="9000000"/>
          </a:xfrm>
          <a:prstGeom prst="rect">
            <a:avLst/>
          </a:prstGeom>
        </p:spPr>
      </p:pic>
      <p:pic>
        <p:nvPicPr>
          <p:cNvPr id="28" name="Picture 27">
            <a:hlinkClick r:id="rId10" action="ppaction://hlinksldjump"/>
            <a:extLst>
              <a:ext uri="{FF2B5EF4-FFF2-40B4-BE49-F238E27FC236}">
                <a16:creationId xmlns:a16="http://schemas.microsoft.com/office/drawing/2014/main" xmlns="" id="{1D5F0D06-714B-40FA-AA91-BDD29A09C4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1798" y="213954"/>
            <a:ext cx="493819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5110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18175CB3-1657-4833-BFA3-BF2A016FE5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169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18175CB3-1657-4833-BFA3-BF2A016FE5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3381DB0A-CBE6-409A-AB18-21D6F0D87C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368115" y="14420533"/>
            <a:ext cx="930285" cy="307777"/>
          </a:xfrm>
        </p:spPr>
        <p:txBody>
          <a:bodyPr/>
          <a:lstStyle/>
          <a:p>
            <a:fld id="{7870704B-CE94-48CC-AF30-84932A1262A7}" type="slidenum">
              <a:rPr lang="pl-PL" smtClean="0"/>
              <a:pPr/>
              <a:t>9</a:t>
            </a:fld>
            <a:endParaRPr lang="pl-PL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xmlns="" id="{09A41D67-D829-4774-A887-72BA190B73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81150" y="1242814"/>
            <a:ext cx="8875713" cy="677108"/>
          </a:xfrm>
        </p:spPr>
        <p:txBody>
          <a:bodyPr/>
          <a:lstStyle/>
          <a:p>
            <a:r>
              <a:rPr lang="pl-PL" b="1"/>
              <a:t>Strona internetowa</a:t>
            </a:r>
            <a:endParaRPr lang="pl-PL" b="1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27FDF053-6C29-48D4-BFD6-12DEBD8F50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4644" y="2464904"/>
            <a:ext cx="9582220" cy="11432071"/>
          </a:xfrm>
        </p:spPr>
        <p:txBody>
          <a:bodyPr/>
          <a:lstStyle/>
          <a:p>
            <a:pPr marL="0" indent="0">
              <a:buNone/>
            </a:pPr>
            <a:endParaRPr lang="pl-PL" sz="3200" dirty="0"/>
          </a:p>
          <a:p>
            <a:pPr marL="0" indent="0">
              <a:buNone/>
            </a:pPr>
            <a:r>
              <a:rPr lang="pl-PL" sz="3200" dirty="0"/>
              <a:t>Strona internetowa naszego Urzędu zawiera informacje dla osób ze szczególnymi potrzebami </a:t>
            </a:r>
            <a:br>
              <a:rPr lang="pl-PL" sz="3200" dirty="0"/>
            </a:br>
            <a:r>
              <a:rPr lang="pl-PL" sz="3200" dirty="0"/>
              <a:t>w zakładce </a:t>
            </a:r>
            <a:r>
              <a:rPr lang="pl-PL" sz="3200" dirty="0" smtClean="0"/>
              <a:t>„Dostępność”</a:t>
            </a:r>
            <a:endParaRPr lang="pl-PL" sz="3200" dirty="0"/>
          </a:p>
          <a:p>
            <a:pPr marL="0" indent="0">
              <a:buNone/>
            </a:pPr>
            <a:r>
              <a:rPr lang="pl-PL" sz="3200" dirty="0">
                <a:hlinkClick r:id="rId7"/>
              </a:rPr>
              <a:t>https://wuozprzemysl.pl/</a:t>
            </a:r>
            <a:endParaRPr lang="pl-PL" sz="3200" dirty="0"/>
          </a:p>
        </p:txBody>
      </p:sp>
      <p:pic>
        <p:nvPicPr>
          <p:cNvPr id="9" name="Picture 8">
            <a:hlinkClick r:id="rId8" action="ppaction://hlinksldjump"/>
            <a:extLst>
              <a:ext uri="{FF2B5EF4-FFF2-40B4-BE49-F238E27FC236}">
                <a16:creationId xmlns:a16="http://schemas.microsoft.com/office/drawing/2014/main" xmlns="" id="{D68DB293-9015-433E-8F15-1E5C2DCE1E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1798" y="213954"/>
            <a:ext cx="493819" cy="499915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9EEF24CD-9C4E-4130-8D93-581CDFFED60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4819312" y="3059113"/>
            <a:ext cx="8999538" cy="900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730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Custom 16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2C388E"/>
      </a:accent1>
      <a:accent2>
        <a:srgbClr val="6D67A5"/>
      </a:accent2>
      <a:accent3>
        <a:srgbClr val="FAB417"/>
      </a:accent3>
      <a:accent4>
        <a:srgbClr val="7D7D7D"/>
      </a:accent4>
      <a:accent5>
        <a:srgbClr val="464646"/>
      </a:accent5>
      <a:accent6>
        <a:srgbClr val="262626"/>
      </a:accent6>
      <a:hlink>
        <a:srgbClr val="2C388E"/>
      </a:hlink>
      <a:folHlink>
        <a:srgbClr val="6D67A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108000" tIns="0" rIns="0" bIns="0" rtlCol="0">
        <a:spAutoFit/>
      </a:bodyPr>
      <a:lstStyle>
        <a:defPPr algn="l">
          <a:lnSpc>
            <a:spcPct val="114000"/>
          </a:lnSpc>
          <a:defRPr sz="1500" dirty="0">
            <a:latin typeface="Arial" panose="020B0604020202020204" pitchFamily="34" charset="0"/>
            <a:cs typeface="Times New Roman" panose="02020603050405020304" pitchFamily="18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 08Oct2018" id="{BF377696-7D08-47D2-AF19-27D76F4E8FB7}" vid="{71BF8C14-62C8-40A5-97EF-74ED9907CD5B}"/>
    </a:ext>
  </a:extLst>
</a:theme>
</file>

<file path=ppt/theme/theme2.xml><?xml version="1.0" encoding="utf-8"?>
<a:theme xmlns:a="http://schemas.openxmlformats.org/drawingml/2006/main" name="Projekt niestandardowy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rojekt niestandardowy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5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wC_16x9_BrandUpdate_2018</Template>
  <TotalTime>5369</TotalTime>
  <Words>321</Words>
  <Application>Microsoft Office PowerPoint</Application>
  <PresentationFormat>Niestandardowy</PresentationFormat>
  <Paragraphs>83</Paragraphs>
  <Slides>11</Slides>
  <Notes>9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Georgia</vt:lpstr>
      <vt:lpstr>Times New Roman</vt:lpstr>
      <vt:lpstr>PwC</vt:lpstr>
      <vt:lpstr>Projekt niestandardowy</vt:lpstr>
      <vt:lpstr>1_Projekt niestandardowy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PricewaterhouseCoopers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grafiki - Komunikacja i zasady savoir-vivre’u</dc:title>
  <dc:creator>Dorota Joziak</dc:creator>
  <cp:lastModifiedBy>Michał Sowa</cp:lastModifiedBy>
  <cp:revision>222</cp:revision>
  <dcterms:created xsi:type="dcterms:W3CDTF">2018-11-30T12:52:36Z</dcterms:created>
  <dcterms:modified xsi:type="dcterms:W3CDTF">2023-09-29T07:11:21Z</dcterms:modified>
</cp:coreProperties>
</file>